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0" r:id="rId4"/>
    <p:sldMasterId id="2147483842" r:id="rId5"/>
    <p:sldMasterId id="2147483882" r:id="rId6"/>
    <p:sldMasterId id="2147483925" r:id="rId7"/>
    <p:sldMasterId id="2147483962" r:id="rId8"/>
  </p:sldMasterIdLst>
  <p:notesMasterIdLst>
    <p:notesMasterId r:id="rId18"/>
  </p:notesMasterIdLst>
  <p:handoutMasterIdLst>
    <p:handoutMasterId r:id="rId19"/>
  </p:handoutMasterIdLst>
  <p:sldIdLst>
    <p:sldId id="2146845808" r:id="rId9"/>
    <p:sldId id="2147470457" r:id="rId10"/>
    <p:sldId id="2147470456" r:id="rId11"/>
    <p:sldId id="2147470461" r:id="rId12"/>
    <p:sldId id="2147470458" r:id="rId13"/>
    <p:sldId id="2147470460" r:id="rId14"/>
    <p:sldId id="2147470459" r:id="rId15"/>
    <p:sldId id="2147470462" r:id="rId16"/>
    <p:sldId id="2147470463" r:id="rId17"/>
  </p:sldIdLst>
  <p:sldSz cx="12192000" cy="6858000"/>
  <p:notesSz cx="6889750" cy="10021888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AB05124-747A-40AB-92EB-8E491F059753}">
          <p14:sldIdLst>
            <p14:sldId id="2146845808"/>
            <p14:sldId id="2147470457"/>
            <p14:sldId id="2147470456"/>
            <p14:sldId id="2147470461"/>
            <p14:sldId id="2147470458"/>
            <p14:sldId id="2147470460"/>
            <p14:sldId id="2147470459"/>
          </p14:sldIdLst>
        </p14:section>
        <p14:section name="Attachments" id="{DC5D41D9-5F08-4681-81B2-B17F27AEBA0B}">
          <p14:sldIdLst>
            <p14:sldId id="2147470462"/>
            <p14:sldId id="2147470463"/>
          </p14:sldIdLst>
        </p14:section>
      </p14:sectionLst>
    </p:ext>
    <p:ext uri="{EFAFB233-063F-42B5-8137-9DF3F51BA10A}">
      <p15:sldGuideLst xmlns:p15="http://schemas.microsoft.com/office/powerpoint/2012/main">
        <p15:guide id="1" pos="7423" userDrawn="1">
          <p15:clr>
            <a:srgbClr val="A4A3A4"/>
          </p15:clr>
        </p15:guide>
        <p15:guide id="2" orient="horz" pos="3884" userDrawn="1">
          <p15:clr>
            <a:srgbClr val="A4A3A4"/>
          </p15:clr>
        </p15:guide>
        <p15:guide id="3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ol Gobby" initials="CG" lastIdx="1" clrIdx="0">
    <p:extLst>
      <p:ext uri="{19B8F6BF-5375-455C-9EA6-DF929625EA0E}">
        <p15:presenceInfo xmlns:p15="http://schemas.microsoft.com/office/powerpoint/2012/main" userId="S::carol.gobby@avanade.com::a387627e-405f-4fd4-9846-c234e27eff1b" providerId="AD"/>
      </p:ext>
    </p:extLst>
  </p:cmAuthor>
  <p:cmAuthor id="2" name="Jacqueline Schofield" initials="JS" lastIdx="54" clrIdx="1">
    <p:extLst>
      <p:ext uri="{19B8F6BF-5375-455C-9EA6-DF929625EA0E}">
        <p15:presenceInfo xmlns:p15="http://schemas.microsoft.com/office/powerpoint/2012/main" userId="S::j.schofield@avanade.com::c952f7e7-e177-4fab-8b93-78c4a382292b" providerId="AD"/>
      </p:ext>
    </p:extLst>
  </p:cmAuthor>
  <p:cmAuthor id="3" name="Jim Edwards" initials="JE" lastIdx="2" clrIdx="2">
    <p:extLst>
      <p:ext uri="{19B8F6BF-5375-455C-9EA6-DF929625EA0E}">
        <p15:presenceInfo xmlns:p15="http://schemas.microsoft.com/office/powerpoint/2012/main" userId="S::jim.edwards@avanade.com::02ec4613-e7be-4dee-ad87-b5feb747374b" providerId="AD"/>
      </p:ext>
    </p:extLst>
  </p:cmAuthor>
  <p:cmAuthor id="4" name="Filip Vanden Houte" initials="FVH" lastIdx="2" clrIdx="3">
    <p:extLst>
      <p:ext uri="{19B8F6BF-5375-455C-9EA6-DF929625EA0E}">
        <p15:presenceInfo xmlns:p15="http://schemas.microsoft.com/office/powerpoint/2012/main" userId="S::filip.vanden.houte@avanade.com::a6387236-20bc-4217-8b19-7418d881a191" providerId="AD"/>
      </p:ext>
    </p:extLst>
  </p:cmAuthor>
  <p:cmAuthor id="5" name="Andrew Moroney" initials="AM" lastIdx="6" clrIdx="4">
    <p:extLst>
      <p:ext uri="{19B8F6BF-5375-455C-9EA6-DF929625EA0E}">
        <p15:presenceInfo xmlns:p15="http://schemas.microsoft.com/office/powerpoint/2012/main" userId="S::andrew.moroney@avanade.com::86ef14ac-d045-460d-8084-1523882478d1" providerId="AD"/>
      </p:ext>
    </p:extLst>
  </p:cmAuthor>
  <p:cmAuthor id="6" name="Jarrod Jones" initials="JJ" lastIdx="2" clrIdx="5">
    <p:extLst>
      <p:ext uri="{19B8F6BF-5375-455C-9EA6-DF929625EA0E}">
        <p15:presenceInfo xmlns:p15="http://schemas.microsoft.com/office/powerpoint/2012/main" userId="S::jarrod.jones@avanade.com::3002b15d-8377-4a44-8c7b-08400fcd20bb" providerId="AD"/>
      </p:ext>
    </p:extLst>
  </p:cmAuthor>
  <p:cmAuthor id="7" name="Saul Darby" initials="SD" lastIdx="1" clrIdx="6">
    <p:extLst>
      <p:ext uri="{19B8F6BF-5375-455C-9EA6-DF929625EA0E}">
        <p15:presenceInfo xmlns:p15="http://schemas.microsoft.com/office/powerpoint/2012/main" userId="S::saul.darby@avanade.com::b080542e-3e54-4b03-90ae-2cae9fd3a872" providerId="AD"/>
      </p:ext>
    </p:extLst>
  </p:cmAuthor>
  <p:cmAuthor id="8" name="Lourens J. Swanepoel" initials="LJS" lastIdx="2" clrIdx="7">
    <p:extLst>
      <p:ext uri="{19B8F6BF-5375-455C-9EA6-DF929625EA0E}">
        <p15:presenceInfo xmlns:p15="http://schemas.microsoft.com/office/powerpoint/2012/main" userId="S::lourens.j.swanepoel@avanade.com::6cc7a089-c3ac-4a75-8405-22fbaed9bef0" providerId="AD"/>
      </p:ext>
    </p:extLst>
  </p:cmAuthor>
  <p:cmAuthor id="9" name="Dan McMahon" initials="DM" lastIdx="1" clrIdx="8">
    <p:extLst>
      <p:ext uri="{19B8F6BF-5375-455C-9EA6-DF929625EA0E}">
        <p15:presenceInfo xmlns:p15="http://schemas.microsoft.com/office/powerpoint/2012/main" userId="S::dan.mcmahon@avanade.com::499fe0ab-cec0-4c6c-ad98-5fa5d0fe01a8" providerId="AD"/>
      </p:ext>
    </p:extLst>
  </p:cmAuthor>
  <p:cmAuthor id="10" name="Luke Rainbow" initials="LR" lastIdx="19" clrIdx="9">
    <p:extLst>
      <p:ext uri="{19B8F6BF-5375-455C-9EA6-DF929625EA0E}">
        <p15:presenceInfo xmlns:p15="http://schemas.microsoft.com/office/powerpoint/2012/main" userId="S::luke.rainbow@avanade.com::049903d8-f8db-46db-addb-954ff6ee374f" providerId="AD"/>
      </p:ext>
    </p:extLst>
  </p:cmAuthor>
  <p:cmAuthor id="11" name="Jax Fong" initials="JF" lastIdx="8" clrIdx="10">
    <p:extLst>
      <p:ext uri="{19B8F6BF-5375-455C-9EA6-DF929625EA0E}">
        <p15:presenceInfo xmlns:p15="http://schemas.microsoft.com/office/powerpoint/2012/main" userId="S::jax.fong@avanade.com::3733a3cd-3389-42a7-a084-e1ffcc543b43" providerId="AD"/>
      </p:ext>
    </p:extLst>
  </p:cmAuthor>
  <p:cmAuthor id="12" name="Lawrence Liang" initials="LL" lastIdx="8" clrIdx="11">
    <p:extLst>
      <p:ext uri="{19B8F6BF-5375-455C-9EA6-DF929625EA0E}">
        <p15:presenceInfo xmlns:p15="http://schemas.microsoft.com/office/powerpoint/2012/main" userId="S::lawrence.liang@avanade.com::2356a4e8-4262-42d2-ba55-6d20cb1b5ea7" providerId="AD"/>
      </p:ext>
    </p:extLst>
  </p:cmAuthor>
  <p:cmAuthor id="13" name="Andrew Stahel" initials="AS" lastIdx="1" clrIdx="12">
    <p:extLst>
      <p:ext uri="{19B8F6BF-5375-455C-9EA6-DF929625EA0E}">
        <p15:presenceInfo xmlns:p15="http://schemas.microsoft.com/office/powerpoint/2012/main" userId="S::andrew.stahel@avanade.com::17f8a985-b65a-46cc-b06f-e8e70d6ac5c9" providerId="AD"/>
      </p:ext>
    </p:extLst>
  </p:cmAuthor>
  <p:cmAuthor id="14" name="Guillaume Noé" initials="GN" lastIdx="2" clrIdx="13">
    <p:extLst>
      <p:ext uri="{19B8F6BF-5375-455C-9EA6-DF929625EA0E}">
        <p15:presenceInfo xmlns:p15="http://schemas.microsoft.com/office/powerpoint/2012/main" userId="S::guillaume.noe@avanade.com::2f3c85c6-4f12-43d9-94a0-b6d097b6159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EBED"/>
    <a:srgbClr val="CE056A"/>
    <a:srgbClr val="FEDEEE"/>
    <a:srgbClr val="FF5800"/>
    <a:srgbClr val="FFF0E7"/>
    <a:srgbClr val="FDE7E3"/>
    <a:srgbClr val="FDF1F5"/>
    <a:srgbClr val="E1FDFF"/>
    <a:srgbClr val="F9DFE8"/>
    <a:srgbClr val="FCEE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5C8040-07C1-4875-AA73-C826B9C5A680}" v="296" dt="2022-08-10T01:37:54.985"/>
    <p1510:client id="{836E4801-B4CD-42A9-825A-E175984727E4}" v="10" dt="2022-08-09T07:00:59.029"/>
    <p1510:client id="{C7DA5476-638A-4BA9-A32D-A602E8A9D3BF}" v="1498" dt="2022-08-09T07:40:52.947"/>
    <p1510:client id="{E56A927D-80D2-42C0-B79E-F88998D0CA35}" v="759" dt="2022-08-10T02:03:14.41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780" y="56"/>
      </p:cViewPr>
      <p:guideLst>
        <p:guide pos="7423"/>
        <p:guide orient="horz" pos="38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notesMaster" Target="notesMasters/notesMaster1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 Bondarenko" userId="13ce5e32-3dab-4a17-85d0-dd28ac84fb45" providerId="ADAL" clId="{E56A927D-80D2-42C0-B79E-F88998D0CA35}"/>
    <pc:docChg chg="undo custSel addSld delSld modSld addSection modSection">
      <pc:chgData name="Alex Bondarenko" userId="13ce5e32-3dab-4a17-85d0-dd28ac84fb45" providerId="ADAL" clId="{E56A927D-80D2-42C0-B79E-F88998D0CA35}" dt="2022-08-10T02:03:14.415" v="972" actId="3626"/>
      <pc:docMkLst>
        <pc:docMk/>
      </pc:docMkLst>
      <pc:sldChg chg="addSp delSp modSp mod">
        <pc:chgData name="Alex Bondarenko" userId="13ce5e32-3dab-4a17-85d0-dd28ac84fb45" providerId="ADAL" clId="{E56A927D-80D2-42C0-B79E-F88998D0CA35}" dt="2022-08-04T05:44:21.289" v="213" actId="20577"/>
        <pc:sldMkLst>
          <pc:docMk/>
          <pc:sldMk cId="1627358404" sldId="2147470457"/>
        </pc:sldMkLst>
        <pc:spChg chg="add del mod">
          <ac:chgData name="Alex Bondarenko" userId="13ce5e32-3dab-4a17-85d0-dd28ac84fb45" providerId="ADAL" clId="{E56A927D-80D2-42C0-B79E-F88998D0CA35}" dt="2022-08-04T05:43:07.442" v="188" actId="478"/>
          <ac:spMkLst>
            <pc:docMk/>
            <pc:sldMk cId="1627358404" sldId="2147470457"/>
            <ac:spMk id="9" creationId="{0C7D359A-14ED-3F20-F78A-AA3760A4EE73}"/>
          </ac:spMkLst>
        </pc:spChg>
        <pc:spChg chg="add del">
          <ac:chgData name="Alex Bondarenko" userId="13ce5e32-3dab-4a17-85d0-dd28ac84fb45" providerId="ADAL" clId="{E56A927D-80D2-42C0-B79E-F88998D0CA35}" dt="2022-08-04T05:40:40.801" v="134" actId="22"/>
          <ac:spMkLst>
            <pc:docMk/>
            <pc:sldMk cId="1627358404" sldId="2147470457"/>
            <ac:spMk id="11" creationId="{F60A6101-4B91-4204-959C-E8DC08BB15CA}"/>
          </ac:spMkLst>
        </pc:spChg>
        <pc:spChg chg="add del">
          <ac:chgData name="Alex Bondarenko" userId="13ce5e32-3dab-4a17-85d0-dd28ac84fb45" providerId="ADAL" clId="{E56A927D-80D2-42C0-B79E-F88998D0CA35}" dt="2022-08-04T05:40:44.347" v="136" actId="22"/>
          <ac:spMkLst>
            <pc:docMk/>
            <pc:sldMk cId="1627358404" sldId="2147470457"/>
            <ac:spMk id="13" creationId="{030447F5-3A95-D3A2-4A86-58B63B6285E0}"/>
          </ac:spMkLst>
        </pc:spChg>
        <pc:graphicFrameChg chg="mod">
          <ac:chgData name="Alex Bondarenko" userId="13ce5e32-3dab-4a17-85d0-dd28ac84fb45" providerId="ADAL" clId="{E56A927D-80D2-42C0-B79E-F88998D0CA35}" dt="2022-08-04T05:41:15.629" v="147"/>
          <ac:graphicFrameMkLst>
            <pc:docMk/>
            <pc:sldMk cId="1627358404" sldId="2147470457"/>
            <ac:graphicFrameMk id="7" creationId="{6B4F2774-2408-E37C-12E2-BA669C70231E}"/>
          </ac:graphicFrameMkLst>
        </pc:graphicFrameChg>
        <pc:graphicFrameChg chg="mod modGraphic">
          <ac:chgData name="Alex Bondarenko" userId="13ce5e32-3dab-4a17-85d0-dd28ac84fb45" providerId="ADAL" clId="{E56A927D-80D2-42C0-B79E-F88998D0CA35}" dt="2022-08-04T05:44:21.289" v="213" actId="20577"/>
          <ac:graphicFrameMkLst>
            <pc:docMk/>
            <pc:sldMk cId="1627358404" sldId="2147470457"/>
            <ac:graphicFrameMk id="10" creationId="{A6BF71CE-DFA1-2C0B-B8B5-2B77BE8DA19D}"/>
          </ac:graphicFrameMkLst>
        </pc:graphicFrameChg>
        <pc:graphicFrameChg chg="add mod modGraphic">
          <ac:chgData name="Alex Bondarenko" userId="13ce5e32-3dab-4a17-85d0-dd28ac84fb45" providerId="ADAL" clId="{E56A927D-80D2-42C0-B79E-F88998D0CA35}" dt="2022-08-04T05:42:56.610" v="186" actId="1076"/>
          <ac:graphicFrameMkLst>
            <pc:docMk/>
            <pc:sldMk cId="1627358404" sldId="2147470457"/>
            <ac:graphicFrameMk id="14" creationId="{123CD4B3-7241-3BD1-DDF2-4AAFE883B69A}"/>
          </ac:graphicFrameMkLst>
        </pc:graphicFrameChg>
      </pc:sldChg>
      <pc:sldChg chg="addSp delSp modSp mod">
        <pc:chgData name="Alex Bondarenko" userId="13ce5e32-3dab-4a17-85d0-dd28ac84fb45" providerId="ADAL" clId="{E56A927D-80D2-42C0-B79E-F88998D0CA35}" dt="2022-08-10T02:03:14.415" v="972" actId="3626"/>
        <pc:sldMkLst>
          <pc:docMk/>
          <pc:sldMk cId="2493293888" sldId="2147470458"/>
        </pc:sldMkLst>
        <pc:spChg chg="add mod">
          <ac:chgData name="Alex Bondarenko" userId="13ce5e32-3dab-4a17-85d0-dd28ac84fb45" providerId="ADAL" clId="{E56A927D-80D2-42C0-B79E-F88998D0CA35}" dt="2022-08-10T02:03:14.415" v="972" actId="3626"/>
          <ac:spMkLst>
            <pc:docMk/>
            <pc:sldMk cId="2493293888" sldId="2147470458"/>
            <ac:spMk id="14" creationId="{702D4382-8966-C9A0-BB96-326463A9B9DF}"/>
          </ac:spMkLst>
        </pc:spChg>
        <pc:graphicFrameChg chg="del">
          <ac:chgData name="Alex Bondarenko" userId="13ce5e32-3dab-4a17-85d0-dd28ac84fb45" providerId="ADAL" clId="{E56A927D-80D2-42C0-B79E-F88998D0CA35}" dt="2022-08-10T01:39:02.352" v="214" actId="21"/>
          <ac:graphicFrameMkLst>
            <pc:docMk/>
            <pc:sldMk cId="2493293888" sldId="2147470458"/>
            <ac:graphicFrameMk id="8" creationId="{41C99527-DCB0-9AAC-31C5-56D1A7312158}"/>
          </ac:graphicFrameMkLst>
        </pc:graphicFrameChg>
        <pc:graphicFrameChg chg="add del mod">
          <ac:chgData name="Alex Bondarenko" userId="13ce5e32-3dab-4a17-85d0-dd28ac84fb45" providerId="ADAL" clId="{E56A927D-80D2-42C0-B79E-F88998D0CA35}" dt="2022-08-10T01:39:49.027" v="218"/>
          <ac:graphicFrameMkLst>
            <pc:docMk/>
            <pc:sldMk cId="2493293888" sldId="2147470458"/>
            <ac:graphicFrameMk id="10" creationId="{C22C191D-3792-60DF-4748-0B49422FF1DE}"/>
          </ac:graphicFrameMkLst>
        </pc:graphicFrameChg>
        <pc:graphicFrameChg chg="add mod modGraphic">
          <ac:chgData name="Alex Bondarenko" userId="13ce5e32-3dab-4a17-85d0-dd28ac84fb45" providerId="ADAL" clId="{E56A927D-80D2-42C0-B79E-F88998D0CA35}" dt="2022-08-10T01:56:32.025" v="844" actId="14100"/>
          <ac:graphicFrameMkLst>
            <pc:docMk/>
            <pc:sldMk cId="2493293888" sldId="2147470458"/>
            <ac:graphicFrameMk id="12" creationId="{2818A85C-43EC-C651-505D-D24858297A97}"/>
          </ac:graphicFrameMkLst>
        </pc:graphicFrameChg>
        <pc:graphicFrameChg chg="add mod modGraphic">
          <ac:chgData name="Alex Bondarenko" userId="13ce5e32-3dab-4a17-85d0-dd28ac84fb45" providerId="ADAL" clId="{E56A927D-80D2-42C0-B79E-F88998D0CA35}" dt="2022-08-10T01:54:47.281" v="842" actId="20577"/>
          <ac:graphicFrameMkLst>
            <pc:docMk/>
            <pc:sldMk cId="2493293888" sldId="2147470458"/>
            <ac:graphicFrameMk id="13" creationId="{205200EE-8486-4C0B-98C8-7B96C2CD50CA}"/>
          </ac:graphicFrameMkLst>
        </pc:graphicFrameChg>
      </pc:sldChg>
      <pc:sldChg chg="modSp mod">
        <pc:chgData name="Alex Bondarenko" userId="13ce5e32-3dab-4a17-85d0-dd28ac84fb45" providerId="ADAL" clId="{E56A927D-80D2-42C0-B79E-F88998D0CA35}" dt="2022-08-10T01:55:38.107" v="843" actId="13926"/>
        <pc:sldMkLst>
          <pc:docMk/>
          <pc:sldMk cId="540546277" sldId="2147470460"/>
        </pc:sldMkLst>
        <pc:graphicFrameChg chg="modGraphic">
          <ac:chgData name="Alex Bondarenko" userId="13ce5e32-3dab-4a17-85d0-dd28ac84fb45" providerId="ADAL" clId="{E56A927D-80D2-42C0-B79E-F88998D0CA35}" dt="2022-08-10T01:55:38.107" v="843" actId="13926"/>
          <ac:graphicFrameMkLst>
            <pc:docMk/>
            <pc:sldMk cId="540546277" sldId="2147470460"/>
            <ac:graphicFrameMk id="3" creationId="{2CE35D40-F363-C027-95FC-A662B505B57B}"/>
          </ac:graphicFrameMkLst>
        </pc:graphicFrameChg>
      </pc:sldChg>
      <pc:sldChg chg="addSp delSp modSp add mod">
        <pc:chgData name="Alex Bondarenko" userId="13ce5e32-3dab-4a17-85d0-dd28ac84fb45" providerId="ADAL" clId="{E56A927D-80D2-42C0-B79E-F88998D0CA35}" dt="2022-08-04T05:10:19.089" v="123" actId="20577"/>
        <pc:sldMkLst>
          <pc:docMk/>
          <pc:sldMk cId="1649174711" sldId="2147470461"/>
        </pc:sldMkLst>
        <pc:spChg chg="mod">
          <ac:chgData name="Alex Bondarenko" userId="13ce5e32-3dab-4a17-85d0-dd28ac84fb45" providerId="ADAL" clId="{E56A927D-80D2-42C0-B79E-F88998D0CA35}" dt="2022-08-04T04:46:37.402" v="30" actId="20577"/>
          <ac:spMkLst>
            <pc:docMk/>
            <pc:sldMk cId="1649174711" sldId="2147470461"/>
            <ac:spMk id="6" creationId="{ADD7D3D0-A076-4CAC-8EBC-578C414319BE}"/>
          </ac:spMkLst>
        </pc:spChg>
        <pc:graphicFrameChg chg="del">
          <ac:chgData name="Alex Bondarenko" userId="13ce5e32-3dab-4a17-85d0-dd28ac84fb45" providerId="ADAL" clId="{E56A927D-80D2-42C0-B79E-F88998D0CA35}" dt="2022-08-04T04:46:49.817" v="31" actId="478"/>
          <ac:graphicFrameMkLst>
            <pc:docMk/>
            <pc:sldMk cId="1649174711" sldId="2147470461"/>
            <ac:graphicFrameMk id="3" creationId="{2CE35D40-F363-C027-95FC-A662B505B57B}"/>
          </ac:graphicFrameMkLst>
        </pc:graphicFrameChg>
        <pc:graphicFrameChg chg="add mod modGraphic">
          <ac:chgData name="Alex Bondarenko" userId="13ce5e32-3dab-4a17-85d0-dd28ac84fb45" providerId="ADAL" clId="{E56A927D-80D2-42C0-B79E-F88998D0CA35}" dt="2022-08-04T05:10:19.089" v="123" actId="20577"/>
          <ac:graphicFrameMkLst>
            <pc:docMk/>
            <pc:sldMk cId="1649174711" sldId="2147470461"/>
            <ac:graphicFrameMk id="11" creationId="{1B344E73-34A5-BE72-35D3-9E55BBA4A090}"/>
          </ac:graphicFrameMkLst>
        </pc:graphicFrameChg>
      </pc:sldChg>
      <pc:sldChg chg="addSp modSp mod">
        <pc:chgData name="Alex Bondarenko" userId="13ce5e32-3dab-4a17-85d0-dd28ac84fb45" providerId="ADAL" clId="{E56A927D-80D2-42C0-B79E-F88998D0CA35}" dt="2022-08-10T02:02:42.500" v="971" actId="20577"/>
        <pc:sldMkLst>
          <pc:docMk/>
          <pc:sldMk cId="4221500222" sldId="2147470462"/>
        </pc:sldMkLst>
        <pc:spChg chg="mod">
          <ac:chgData name="Alex Bondarenko" userId="13ce5e32-3dab-4a17-85d0-dd28ac84fb45" providerId="ADAL" clId="{E56A927D-80D2-42C0-B79E-F88998D0CA35}" dt="2022-08-10T02:02:42.500" v="971" actId="20577"/>
          <ac:spMkLst>
            <pc:docMk/>
            <pc:sldMk cId="4221500222" sldId="2147470462"/>
            <ac:spMk id="6" creationId="{ADD7D3D0-A076-4CAC-8EBC-578C414319BE}"/>
          </ac:spMkLst>
        </pc:spChg>
        <pc:graphicFrameChg chg="add mod">
          <ac:chgData name="Alex Bondarenko" userId="13ce5e32-3dab-4a17-85d0-dd28ac84fb45" providerId="ADAL" clId="{E56A927D-80D2-42C0-B79E-F88998D0CA35}" dt="2022-08-10T01:39:15.603" v="216" actId="1076"/>
          <ac:graphicFrameMkLst>
            <pc:docMk/>
            <pc:sldMk cId="4221500222" sldId="2147470462"/>
            <ac:graphicFrameMk id="10" creationId="{99B1502B-E235-F603-80EC-7E835C610A8A}"/>
          </ac:graphicFrameMkLst>
        </pc:graphicFrameChg>
      </pc:sldChg>
      <pc:sldChg chg="modSp new add del mod">
        <pc:chgData name="Alex Bondarenko" userId="13ce5e32-3dab-4a17-85d0-dd28ac84fb45" providerId="ADAL" clId="{E56A927D-80D2-42C0-B79E-F88998D0CA35}" dt="2022-08-10T02:00:54.258" v="967" actId="47"/>
        <pc:sldMkLst>
          <pc:docMk/>
          <pc:sldMk cId="3940746739" sldId="2147470463"/>
        </pc:sldMkLst>
        <pc:spChg chg="mod">
          <ac:chgData name="Alex Bondarenko" userId="13ce5e32-3dab-4a17-85d0-dd28ac84fb45" providerId="ADAL" clId="{E56A927D-80D2-42C0-B79E-F88998D0CA35}" dt="2022-08-10T01:57:14.772" v="852" actId="20577"/>
          <ac:spMkLst>
            <pc:docMk/>
            <pc:sldMk cId="3940746739" sldId="2147470463"/>
            <ac:spMk id="3" creationId="{0AA4754F-AC9A-874E-E88F-F8A22FE0FCF1}"/>
          </ac:spMkLst>
        </pc:spChg>
        <pc:spChg chg="mod">
          <ac:chgData name="Alex Bondarenko" userId="13ce5e32-3dab-4a17-85d0-dd28ac84fb45" providerId="ADAL" clId="{E56A927D-80D2-42C0-B79E-F88998D0CA35}" dt="2022-08-10T01:58:41.279" v="960" actId="20577"/>
          <ac:spMkLst>
            <pc:docMk/>
            <pc:sldMk cId="3940746739" sldId="2147470463"/>
            <ac:spMk id="4" creationId="{ECC746CF-A91E-CFE3-3531-FF84040812D5}"/>
          </ac:spMkLst>
        </pc:spChg>
      </pc:sldChg>
    </pc:docChg>
  </pc:docChgLst>
  <pc:docChgLst>
    <pc:chgData name="Alex Bondarenko" userId="S::oleksandr.bondarenko@avanade.com::13ce5e32-3dab-4a17-85d0-dd28ac84fb45" providerId="AD" clId="Web-{2EDBD650-168C-49B7-AF63-ED1A946BFDFC}"/>
    <pc:docChg chg="modSld">
      <pc:chgData name="Alex Bondarenko" userId="S::oleksandr.bondarenko@avanade.com::13ce5e32-3dab-4a17-85d0-dd28ac84fb45" providerId="AD" clId="Web-{2EDBD650-168C-49B7-AF63-ED1A946BFDFC}" dt="2022-08-05T04:12:35.355" v="34" actId="1076"/>
      <pc:docMkLst>
        <pc:docMk/>
      </pc:docMkLst>
      <pc:sldChg chg="modSp">
        <pc:chgData name="Alex Bondarenko" userId="S::oleksandr.bondarenko@avanade.com::13ce5e32-3dab-4a17-85d0-dd28ac84fb45" providerId="AD" clId="Web-{2EDBD650-168C-49B7-AF63-ED1A946BFDFC}" dt="2022-08-05T04:12:35.355" v="34" actId="1076"/>
        <pc:sldMkLst>
          <pc:docMk/>
          <pc:sldMk cId="1627358404" sldId="2147470457"/>
        </pc:sldMkLst>
        <pc:graphicFrameChg chg="mod modGraphic">
          <ac:chgData name="Alex Bondarenko" userId="S::oleksandr.bondarenko@avanade.com::13ce5e32-3dab-4a17-85d0-dd28ac84fb45" providerId="AD" clId="Web-{2EDBD650-168C-49B7-AF63-ED1A946BFDFC}" dt="2022-08-05T04:12:18.870" v="31"/>
          <ac:graphicFrameMkLst>
            <pc:docMk/>
            <pc:sldMk cId="1627358404" sldId="2147470457"/>
            <ac:graphicFrameMk id="5" creationId="{8B05BAD0-C111-755E-CB01-652ED83A318A}"/>
          </ac:graphicFrameMkLst>
        </pc:graphicFrameChg>
        <pc:graphicFrameChg chg="mod modGraphic">
          <ac:chgData name="Alex Bondarenko" userId="S::oleksandr.bondarenko@avanade.com::13ce5e32-3dab-4a17-85d0-dd28ac84fb45" providerId="AD" clId="Web-{2EDBD650-168C-49B7-AF63-ED1A946BFDFC}" dt="2022-08-05T04:11:58.088" v="13"/>
          <ac:graphicFrameMkLst>
            <pc:docMk/>
            <pc:sldMk cId="1627358404" sldId="2147470457"/>
            <ac:graphicFrameMk id="7" creationId="{6B4F2774-2408-E37C-12E2-BA669C70231E}"/>
          </ac:graphicFrameMkLst>
        </pc:graphicFrameChg>
        <pc:graphicFrameChg chg="mod modGraphic">
          <ac:chgData name="Alex Bondarenko" userId="S::oleksandr.bondarenko@avanade.com::13ce5e32-3dab-4a17-85d0-dd28ac84fb45" providerId="AD" clId="Web-{2EDBD650-168C-49B7-AF63-ED1A946BFDFC}" dt="2022-08-05T04:12:25.636" v="33"/>
          <ac:graphicFrameMkLst>
            <pc:docMk/>
            <pc:sldMk cId="1627358404" sldId="2147470457"/>
            <ac:graphicFrameMk id="10" creationId="{A6BF71CE-DFA1-2C0B-B8B5-2B77BE8DA19D}"/>
          </ac:graphicFrameMkLst>
        </pc:graphicFrameChg>
        <pc:graphicFrameChg chg="mod modGraphic">
          <ac:chgData name="Alex Bondarenko" userId="S::oleksandr.bondarenko@avanade.com::13ce5e32-3dab-4a17-85d0-dd28ac84fb45" providerId="AD" clId="Web-{2EDBD650-168C-49B7-AF63-ED1A946BFDFC}" dt="2022-08-05T04:12:35.355" v="34" actId="1076"/>
          <ac:graphicFrameMkLst>
            <pc:docMk/>
            <pc:sldMk cId="1627358404" sldId="2147470457"/>
            <ac:graphicFrameMk id="14" creationId="{123CD4B3-7241-3BD1-DDF2-4AAFE883B69A}"/>
          </ac:graphicFrameMkLst>
        </pc:graphicFrameChg>
      </pc:sldChg>
    </pc:docChg>
  </pc:docChgLst>
  <pc:docChgLst>
    <pc:chgData name="Juliana Bächtold" userId="42036acf-0ef8-4b7a-b5b1-f26c6f64563f" providerId="ADAL" clId="{C7DA5476-638A-4BA9-A32D-A602E8A9D3BF}"/>
    <pc:docChg chg="undo custSel addSld delSld modSld sldOrd">
      <pc:chgData name="Juliana Bächtold" userId="42036acf-0ef8-4b7a-b5b1-f26c6f64563f" providerId="ADAL" clId="{C7DA5476-638A-4BA9-A32D-A602E8A9D3BF}" dt="2022-08-09T07:40:52.947" v="1498" actId="20577"/>
      <pc:docMkLst>
        <pc:docMk/>
      </pc:docMkLst>
      <pc:sldChg chg="modSp mod">
        <pc:chgData name="Juliana Bächtold" userId="42036acf-0ef8-4b7a-b5b1-f26c6f64563f" providerId="ADAL" clId="{C7DA5476-638A-4BA9-A32D-A602E8A9D3BF}" dt="2022-08-09T06:15:30.394" v="13" actId="6549"/>
        <pc:sldMkLst>
          <pc:docMk/>
          <pc:sldMk cId="4118100888" sldId="2146845808"/>
        </pc:sldMkLst>
        <pc:spChg chg="mod">
          <ac:chgData name="Juliana Bächtold" userId="42036acf-0ef8-4b7a-b5b1-f26c6f64563f" providerId="ADAL" clId="{C7DA5476-638A-4BA9-A32D-A602E8A9D3BF}" dt="2022-08-09T06:15:30.394" v="13" actId="6549"/>
          <ac:spMkLst>
            <pc:docMk/>
            <pc:sldMk cId="4118100888" sldId="2146845808"/>
            <ac:spMk id="11" creationId="{6DDEEFC6-C43D-4558-AC36-A887E86E2F0F}"/>
          </ac:spMkLst>
        </pc:spChg>
      </pc:sldChg>
      <pc:sldChg chg="modSp mod ord">
        <pc:chgData name="Juliana Bächtold" userId="42036acf-0ef8-4b7a-b5b1-f26c6f64563f" providerId="ADAL" clId="{C7DA5476-638A-4BA9-A32D-A602E8A9D3BF}" dt="2022-08-09T07:11:47.102" v="1214"/>
        <pc:sldMkLst>
          <pc:docMk/>
          <pc:sldMk cId="1386769039" sldId="2147470456"/>
        </pc:sldMkLst>
        <pc:graphicFrameChg chg="mod modGraphic">
          <ac:chgData name="Juliana Bächtold" userId="42036acf-0ef8-4b7a-b5b1-f26c6f64563f" providerId="ADAL" clId="{C7DA5476-638A-4BA9-A32D-A602E8A9D3BF}" dt="2022-08-09T07:11:47.102" v="1214"/>
          <ac:graphicFrameMkLst>
            <pc:docMk/>
            <pc:sldMk cId="1386769039" sldId="2147470456"/>
            <ac:graphicFrameMk id="28" creationId="{9F5F7011-A563-9DAF-23F2-226FD15E8FC9}"/>
          </ac:graphicFrameMkLst>
        </pc:graphicFrameChg>
      </pc:sldChg>
      <pc:sldChg chg="modSp mod">
        <pc:chgData name="Juliana Bächtold" userId="42036acf-0ef8-4b7a-b5b1-f26c6f64563f" providerId="ADAL" clId="{C7DA5476-638A-4BA9-A32D-A602E8A9D3BF}" dt="2022-08-09T07:00:51.786" v="1107" actId="2165"/>
        <pc:sldMkLst>
          <pc:docMk/>
          <pc:sldMk cId="1627358404" sldId="2147470457"/>
        </pc:sldMkLst>
        <pc:graphicFrameChg chg="mod modGraphic">
          <ac:chgData name="Juliana Bächtold" userId="42036acf-0ef8-4b7a-b5b1-f26c6f64563f" providerId="ADAL" clId="{C7DA5476-638A-4BA9-A32D-A602E8A9D3BF}" dt="2022-08-09T06:22:44.351" v="92" actId="1076"/>
          <ac:graphicFrameMkLst>
            <pc:docMk/>
            <pc:sldMk cId="1627358404" sldId="2147470457"/>
            <ac:graphicFrameMk id="5" creationId="{8B05BAD0-C111-755E-CB01-652ED83A318A}"/>
          </ac:graphicFrameMkLst>
        </pc:graphicFrameChg>
        <pc:graphicFrameChg chg="mod">
          <ac:chgData name="Juliana Bächtold" userId="42036acf-0ef8-4b7a-b5b1-f26c6f64563f" providerId="ADAL" clId="{C7DA5476-638A-4BA9-A32D-A602E8A9D3BF}" dt="2022-08-09T06:16:52.208" v="59" actId="1035"/>
          <ac:graphicFrameMkLst>
            <pc:docMk/>
            <pc:sldMk cId="1627358404" sldId="2147470457"/>
            <ac:graphicFrameMk id="6" creationId="{1BDBA10A-19B6-498A-770A-8FD09A6DC6A2}"/>
          </ac:graphicFrameMkLst>
        </pc:graphicFrameChg>
        <pc:graphicFrameChg chg="mod modGraphic">
          <ac:chgData name="Juliana Bächtold" userId="42036acf-0ef8-4b7a-b5b1-f26c6f64563f" providerId="ADAL" clId="{C7DA5476-638A-4BA9-A32D-A602E8A9D3BF}" dt="2022-08-09T07:00:42.017" v="1106" actId="13926"/>
          <ac:graphicFrameMkLst>
            <pc:docMk/>
            <pc:sldMk cId="1627358404" sldId="2147470457"/>
            <ac:graphicFrameMk id="7" creationId="{6B4F2774-2408-E37C-12E2-BA669C70231E}"/>
          </ac:graphicFrameMkLst>
        </pc:graphicFrameChg>
        <pc:graphicFrameChg chg="mod modGraphic">
          <ac:chgData name="Juliana Bächtold" userId="42036acf-0ef8-4b7a-b5b1-f26c6f64563f" providerId="ADAL" clId="{C7DA5476-638A-4BA9-A32D-A602E8A9D3BF}" dt="2022-08-09T07:00:51.786" v="1107" actId="2165"/>
          <ac:graphicFrameMkLst>
            <pc:docMk/>
            <pc:sldMk cId="1627358404" sldId="2147470457"/>
            <ac:graphicFrameMk id="10" creationId="{A6BF71CE-DFA1-2C0B-B8B5-2B77BE8DA19D}"/>
          </ac:graphicFrameMkLst>
        </pc:graphicFrameChg>
        <pc:graphicFrameChg chg="mod modGraphic">
          <ac:chgData name="Juliana Bächtold" userId="42036acf-0ef8-4b7a-b5b1-f26c6f64563f" providerId="ADAL" clId="{C7DA5476-638A-4BA9-A32D-A602E8A9D3BF}" dt="2022-08-09T06:59:59.795" v="1066" actId="20577"/>
          <ac:graphicFrameMkLst>
            <pc:docMk/>
            <pc:sldMk cId="1627358404" sldId="2147470457"/>
            <ac:graphicFrameMk id="14" creationId="{123CD4B3-7241-3BD1-DDF2-4AAFE883B69A}"/>
          </ac:graphicFrameMkLst>
        </pc:graphicFrameChg>
      </pc:sldChg>
      <pc:sldChg chg="addSp delSp modSp mod">
        <pc:chgData name="Juliana Bächtold" userId="42036acf-0ef8-4b7a-b5b1-f26c6f64563f" providerId="ADAL" clId="{C7DA5476-638A-4BA9-A32D-A602E8A9D3BF}" dt="2022-08-09T07:11:07.414" v="1211" actId="20577"/>
        <pc:sldMkLst>
          <pc:docMk/>
          <pc:sldMk cId="2493293888" sldId="2147470458"/>
        </pc:sldMkLst>
        <pc:spChg chg="mod">
          <ac:chgData name="Juliana Bächtold" userId="42036acf-0ef8-4b7a-b5b1-f26c6f64563f" providerId="ADAL" clId="{C7DA5476-638A-4BA9-A32D-A602E8A9D3BF}" dt="2022-08-09T06:22:23.443" v="91" actId="1076"/>
          <ac:spMkLst>
            <pc:docMk/>
            <pc:sldMk cId="2493293888" sldId="2147470458"/>
            <ac:spMk id="3" creationId="{20277EBF-2535-4910-80E8-064E3E9DE825}"/>
          </ac:spMkLst>
        </pc:spChg>
        <pc:spChg chg="mod ord">
          <ac:chgData name="Juliana Bächtold" userId="42036acf-0ef8-4b7a-b5b1-f26c6f64563f" providerId="ADAL" clId="{C7DA5476-638A-4BA9-A32D-A602E8A9D3BF}" dt="2022-08-09T07:11:07.414" v="1211" actId="20577"/>
          <ac:spMkLst>
            <pc:docMk/>
            <pc:sldMk cId="2493293888" sldId="2147470458"/>
            <ac:spMk id="9" creationId="{027969DA-02B8-9C03-AEC1-EC87D23315E3}"/>
          </ac:spMkLst>
        </pc:spChg>
        <pc:spChg chg="del">
          <ac:chgData name="Juliana Bächtold" userId="42036acf-0ef8-4b7a-b5b1-f26c6f64563f" providerId="ADAL" clId="{C7DA5476-638A-4BA9-A32D-A602E8A9D3BF}" dt="2022-08-09T06:22:54.274" v="93" actId="478"/>
          <ac:spMkLst>
            <pc:docMk/>
            <pc:sldMk cId="2493293888" sldId="2147470458"/>
            <ac:spMk id="11" creationId="{9736381C-F5A5-AC64-1632-9D8A9448A683}"/>
          </ac:spMkLst>
        </pc:spChg>
        <pc:picChg chg="add mod">
          <ac:chgData name="Juliana Bächtold" userId="42036acf-0ef8-4b7a-b5b1-f26c6f64563f" providerId="ADAL" clId="{C7DA5476-638A-4BA9-A32D-A602E8A9D3BF}" dt="2022-08-09T06:24:50.128" v="95" actId="1076"/>
          <ac:picMkLst>
            <pc:docMk/>
            <pc:sldMk cId="2493293888" sldId="2147470458"/>
            <ac:picMk id="1026" creationId="{491A1FD3-E761-48E2-80F8-A5884AB88A99}"/>
          </ac:picMkLst>
        </pc:picChg>
      </pc:sldChg>
      <pc:sldChg chg="addSp delSp modSp mod">
        <pc:chgData name="Juliana Bächtold" userId="42036acf-0ef8-4b7a-b5b1-f26c6f64563f" providerId="ADAL" clId="{C7DA5476-638A-4BA9-A32D-A602E8A9D3BF}" dt="2022-08-09T07:40:52.947" v="1498" actId="20577"/>
        <pc:sldMkLst>
          <pc:docMk/>
          <pc:sldMk cId="3920466892" sldId="2147470459"/>
        </pc:sldMkLst>
        <pc:spChg chg="add del mod">
          <ac:chgData name="Juliana Bächtold" userId="42036acf-0ef8-4b7a-b5b1-f26c6f64563f" providerId="ADAL" clId="{C7DA5476-638A-4BA9-A32D-A602E8A9D3BF}" dt="2022-08-09T07:22:35.104" v="1300" actId="478"/>
          <ac:spMkLst>
            <pc:docMk/>
            <pc:sldMk cId="3920466892" sldId="2147470459"/>
            <ac:spMk id="3" creationId="{810C67E4-1391-6022-1D93-C9D8BFA94D2D}"/>
          </ac:spMkLst>
        </pc:spChg>
        <pc:spChg chg="add mod">
          <ac:chgData name="Juliana Bächtold" userId="42036acf-0ef8-4b7a-b5b1-f26c6f64563f" providerId="ADAL" clId="{C7DA5476-638A-4BA9-A32D-A602E8A9D3BF}" dt="2022-08-09T07:40:52.947" v="1498" actId="20577"/>
          <ac:spMkLst>
            <pc:docMk/>
            <pc:sldMk cId="3920466892" sldId="2147470459"/>
            <ac:spMk id="4" creationId="{FB0E6601-D796-4960-1750-63D184C62F26}"/>
          </ac:spMkLst>
        </pc:spChg>
        <pc:graphicFrameChg chg="modGraphic">
          <ac:chgData name="Juliana Bächtold" userId="42036acf-0ef8-4b7a-b5b1-f26c6f64563f" providerId="ADAL" clId="{C7DA5476-638A-4BA9-A32D-A602E8A9D3BF}" dt="2022-08-09T07:38:18.730" v="1481" actId="20577"/>
          <ac:graphicFrameMkLst>
            <pc:docMk/>
            <pc:sldMk cId="3920466892" sldId="2147470459"/>
            <ac:graphicFrameMk id="2" creationId="{062258C8-6C3A-53EB-9186-4F2441367F63}"/>
          </ac:graphicFrameMkLst>
        </pc:graphicFrameChg>
        <pc:graphicFrameChg chg="mod modGraphic">
          <ac:chgData name="Juliana Bächtold" userId="42036acf-0ef8-4b7a-b5b1-f26c6f64563f" providerId="ADAL" clId="{C7DA5476-638A-4BA9-A32D-A602E8A9D3BF}" dt="2022-08-09T07:37:11.360" v="1462"/>
          <ac:graphicFrameMkLst>
            <pc:docMk/>
            <pc:sldMk cId="3920466892" sldId="2147470459"/>
            <ac:graphicFrameMk id="28" creationId="{9F5F7011-A563-9DAF-23F2-226FD15E8FC9}"/>
          </ac:graphicFrameMkLst>
        </pc:graphicFrameChg>
      </pc:sldChg>
      <pc:sldChg chg="del">
        <pc:chgData name="Juliana Bächtold" userId="42036acf-0ef8-4b7a-b5b1-f26c6f64563f" providerId="ADAL" clId="{C7DA5476-638A-4BA9-A32D-A602E8A9D3BF}" dt="2022-08-09T07:11:17.602" v="1212" actId="47"/>
        <pc:sldMkLst>
          <pc:docMk/>
          <pc:sldMk cId="1649174711" sldId="2147470461"/>
        </pc:sldMkLst>
      </pc:sldChg>
      <pc:sldChg chg="delSp modSp add mod">
        <pc:chgData name="Juliana Bächtold" userId="42036acf-0ef8-4b7a-b5b1-f26c6f64563f" providerId="ADAL" clId="{C7DA5476-638A-4BA9-A32D-A602E8A9D3BF}" dt="2022-08-09T07:13:34.358" v="1252" actId="478"/>
        <pc:sldMkLst>
          <pc:docMk/>
          <pc:sldMk cId="2308514240" sldId="2147470461"/>
        </pc:sldMkLst>
        <pc:spChg chg="mod">
          <ac:chgData name="Juliana Bächtold" userId="42036acf-0ef8-4b7a-b5b1-f26c6f64563f" providerId="ADAL" clId="{C7DA5476-638A-4BA9-A32D-A602E8A9D3BF}" dt="2022-08-09T07:13:30.532" v="1251" actId="20577"/>
          <ac:spMkLst>
            <pc:docMk/>
            <pc:sldMk cId="2308514240" sldId="2147470461"/>
            <ac:spMk id="6" creationId="{ADD7D3D0-A076-4CAC-8EBC-578C414319BE}"/>
          </ac:spMkLst>
        </pc:spChg>
        <pc:graphicFrameChg chg="del">
          <ac:chgData name="Juliana Bächtold" userId="42036acf-0ef8-4b7a-b5b1-f26c6f64563f" providerId="ADAL" clId="{C7DA5476-638A-4BA9-A32D-A602E8A9D3BF}" dt="2022-08-09T07:13:34.358" v="1252" actId="478"/>
          <ac:graphicFrameMkLst>
            <pc:docMk/>
            <pc:sldMk cId="2308514240" sldId="2147470461"/>
            <ac:graphicFrameMk id="28" creationId="{9F5F7011-A563-9DAF-23F2-226FD15E8FC9}"/>
          </ac:graphicFrameMkLst>
        </pc:graphicFrameChg>
      </pc:sldChg>
      <pc:sldChg chg="add del">
        <pc:chgData name="Juliana Bächtold" userId="42036acf-0ef8-4b7a-b5b1-f26c6f64563f" providerId="ADAL" clId="{C7DA5476-638A-4BA9-A32D-A602E8A9D3BF}" dt="2022-08-09T06:21:58.393" v="86" actId="47"/>
        <pc:sldMkLst>
          <pc:docMk/>
          <pc:sldMk cId="624358734" sldId="2147470462"/>
        </pc:sldMkLst>
      </pc:sldChg>
      <pc:sldChg chg="new del">
        <pc:chgData name="Juliana Bächtold" userId="42036acf-0ef8-4b7a-b5b1-f26c6f64563f" providerId="ADAL" clId="{C7DA5476-638A-4BA9-A32D-A602E8A9D3BF}" dt="2022-08-09T06:21:38.579" v="84" actId="680"/>
        <pc:sldMkLst>
          <pc:docMk/>
          <pc:sldMk cId="2681804062" sldId="2147470462"/>
        </pc:sldMkLst>
      </pc:sldChg>
    </pc:docChg>
  </pc:docChgLst>
  <pc:docChgLst>
    <pc:chgData name="Alex Bondarenko" userId="S::oleksandr.bondarenko@avanade.com::13ce5e32-3dab-4a17-85d0-dd28ac84fb45" providerId="AD" clId="Web-{87CAD1F9-B95B-4706-86E3-9DCADEC8361E}"/>
    <pc:docChg chg="modSld">
      <pc:chgData name="Alex Bondarenko" userId="S::oleksandr.bondarenko@avanade.com::13ce5e32-3dab-4a17-85d0-dd28ac84fb45" providerId="AD" clId="Web-{87CAD1F9-B95B-4706-86E3-9DCADEC8361E}" dt="2022-08-08T23:51:15.977" v="39" actId="20577"/>
      <pc:docMkLst>
        <pc:docMk/>
      </pc:docMkLst>
      <pc:sldChg chg="modSp">
        <pc:chgData name="Alex Bondarenko" userId="S::oleksandr.bondarenko@avanade.com::13ce5e32-3dab-4a17-85d0-dd28ac84fb45" providerId="AD" clId="Web-{87CAD1F9-B95B-4706-86E3-9DCADEC8361E}" dt="2022-08-08T23:51:15.977" v="39" actId="20577"/>
        <pc:sldMkLst>
          <pc:docMk/>
          <pc:sldMk cId="2493293888" sldId="2147470458"/>
        </pc:sldMkLst>
        <pc:spChg chg="mod">
          <ac:chgData name="Alex Bondarenko" userId="S::oleksandr.bondarenko@avanade.com::13ce5e32-3dab-4a17-85d0-dd28ac84fb45" providerId="AD" clId="Web-{87CAD1F9-B95B-4706-86E3-9DCADEC8361E}" dt="2022-08-08T23:51:15.977" v="39" actId="20577"/>
          <ac:spMkLst>
            <pc:docMk/>
            <pc:sldMk cId="2493293888" sldId="2147470458"/>
            <ac:spMk id="9" creationId="{027969DA-02B8-9C03-AEC1-EC87D23315E3}"/>
          </ac:spMkLst>
        </pc:spChg>
        <pc:spChg chg="mod">
          <ac:chgData name="Alex Bondarenko" userId="S::oleksandr.bondarenko@avanade.com::13ce5e32-3dab-4a17-85d0-dd28ac84fb45" providerId="AD" clId="Web-{87CAD1F9-B95B-4706-86E3-9DCADEC8361E}" dt="2022-08-08T23:50:50.022" v="28" actId="20577"/>
          <ac:spMkLst>
            <pc:docMk/>
            <pc:sldMk cId="2493293888" sldId="2147470458"/>
            <ac:spMk id="11" creationId="{9736381C-F5A5-AC64-1632-9D8A9448A683}"/>
          </ac:spMkLst>
        </pc:spChg>
      </pc:sldChg>
    </pc:docChg>
  </pc:docChgLst>
  <pc:docChgLst>
    <pc:chgData name="Alex Bondarenko" userId="S::oleksandr.bondarenko@avanade.com::13ce5e32-3dab-4a17-85d0-dd28ac84fb45" providerId="AD" clId="Web-{862DC2DB-2B25-44D9-8C24-8A8706F15798}"/>
    <pc:docChg chg="modSld">
      <pc:chgData name="Alex Bondarenko" userId="S::oleksandr.bondarenko@avanade.com::13ce5e32-3dab-4a17-85d0-dd28ac84fb45" providerId="AD" clId="Web-{862DC2DB-2B25-44D9-8C24-8A8706F15798}" dt="2022-08-04T04:44:41.822" v="19"/>
      <pc:docMkLst>
        <pc:docMk/>
      </pc:docMkLst>
      <pc:sldChg chg="modSp">
        <pc:chgData name="Alex Bondarenko" userId="S::oleksandr.bondarenko@avanade.com::13ce5e32-3dab-4a17-85d0-dd28ac84fb45" providerId="AD" clId="Web-{862DC2DB-2B25-44D9-8C24-8A8706F15798}" dt="2022-08-04T04:43:21.179" v="3"/>
        <pc:sldMkLst>
          <pc:docMk/>
          <pc:sldMk cId="1627358404" sldId="2147470457"/>
        </pc:sldMkLst>
        <pc:graphicFrameChg chg="mod modGraphic">
          <ac:chgData name="Alex Bondarenko" userId="S::oleksandr.bondarenko@avanade.com::13ce5e32-3dab-4a17-85d0-dd28ac84fb45" providerId="AD" clId="Web-{862DC2DB-2B25-44D9-8C24-8A8706F15798}" dt="2022-08-04T04:43:21.179" v="3"/>
          <ac:graphicFrameMkLst>
            <pc:docMk/>
            <pc:sldMk cId="1627358404" sldId="2147470457"/>
            <ac:graphicFrameMk id="10" creationId="{A6BF71CE-DFA1-2C0B-B8B5-2B77BE8DA19D}"/>
          </ac:graphicFrameMkLst>
        </pc:graphicFrameChg>
      </pc:sldChg>
      <pc:sldChg chg="modSp">
        <pc:chgData name="Alex Bondarenko" userId="S::oleksandr.bondarenko@avanade.com::13ce5e32-3dab-4a17-85d0-dd28ac84fb45" providerId="AD" clId="Web-{862DC2DB-2B25-44D9-8C24-8A8706F15798}" dt="2022-08-04T04:44:41.822" v="19"/>
        <pc:sldMkLst>
          <pc:docMk/>
          <pc:sldMk cId="540546277" sldId="2147470460"/>
        </pc:sldMkLst>
        <pc:graphicFrameChg chg="mod modGraphic">
          <ac:chgData name="Alex Bondarenko" userId="S::oleksandr.bondarenko@avanade.com::13ce5e32-3dab-4a17-85d0-dd28ac84fb45" providerId="AD" clId="Web-{862DC2DB-2B25-44D9-8C24-8A8706F15798}" dt="2022-08-04T04:44:41.822" v="19"/>
          <ac:graphicFrameMkLst>
            <pc:docMk/>
            <pc:sldMk cId="540546277" sldId="2147470460"/>
            <ac:graphicFrameMk id="3" creationId="{2CE35D40-F363-C027-95FC-A662B505B57B}"/>
          </ac:graphicFrameMkLst>
        </pc:graphicFrameChg>
      </pc:sldChg>
    </pc:docChg>
  </pc:docChgLst>
  <pc:docChgLst>
    <pc:chgData name="Hitender Yadav" userId="e6279f1a-e786-49ac-b8dc-4881329cc4e8" providerId="ADAL" clId="{836E4801-B4CD-42A9-825A-E175984727E4}"/>
    <pc:docChg chg="modSld">
      <pc:chgData name="Hitender Yadav" userId="e6279f1a-e786-49ac-b8dc-4881329cc4e8" providerId="ADAL" clId="{836E4801-B4CD-42A9-825A-E175984727E4}" dt="2022-08-09T07:00:59.030" v="1" actId="404"/>
      <pc:docMkLst>
        <pc:docMk/>
      </pc:docMkLst>
      <pc:sldChg chg="modSp mod">
        <pc:chgData name="Hitender Yadav" userId="e6279f1a-e786-49ac-b8dc-4881329cc4e8" providerId="ADAL" clId="{836E4801-B4CD-42A9-825A-E175984727E4}" dt="2022-08-09T07:00:59.030" v="1" actId="404"/>
        <pc:sldMkLst>
          <pc:docMk/>
          <pc:sldMk cId="1627358404" sldId="2147470457"/>
        </pc:sldMkLst>
        <pc:graphicFrameChg chg="modGraphic">
          <ac:chgData name="Hitender Yadav" userId="e6279f1a-e786-49ac-b8dc-4881329cc4e8" providerId="ADAL" clId="{836E4801-B4CD-42A9-825A-E175984727E4}" dt="2022-08-09T07:00:59.030" v="1" actId="404"/>
          <ac:graphicFrameMkLst>
            <pc:docMk/>
            <pc:sldMk cId="1627358404" sldId="2147470457"/>
            <ac:graphicFrameMk id="14" creationId="{123CD4B3-7241-3BD1-DDF2-4AAFE883B69A}"/>
          </ac:graphicFrameMkLst>
        </pc:graphicFrameChg>
      </pc:sldChg>
    </pc:docChg>
  </pc:docChgLst>
  <pc:docChgLst>
    <pc:chgData name="Alex Bondarenko" userId="S::oleksandr.bondarenko@avanade.com::13ce5e32-3dab-4a17-85d0-dd28ac84fb45" providerId="AD" clId="Web-{1F5C8040-07C1-4875-AA73-C826B9C5A680}"/>
    <pc:docChg chg="addSld modSld">
      <pc:chgData name="Alex Bondarenko" userId="S::oleksandr.bondarenko@avanade.com::13ce5e32-3dab-4a17-85d0-dd28ac84fb45" providerId="AD" clId="Web-{1F5C8040-07C1-4875-AA73-C826B9C5A680}" dt="2022-08-10T01:37:54.985" v="262"/>
      <pc:docMkLst>
        <pc:docMk/>
      </pc:docMkLst>
      <pc:sldChg chg="addSp delSp modSp">
        <pc:chgData name="Alex Bondarenko" userId="S::oleksandr.bondarenko@avanade.com::13ce5e32-3dab-4a17-85d0-dd28ac84fb45" providerId="AD" clId="Web-{1F5C8040-07C1-4875-AA73-C826B9C5A680}" dt="2022-08-10T01:31:55.414" v="220"/>
        <pc:sldMkLst>
          <pc:docMk/>
          <pc:sldMk cId="1627358404" sldId="2147470457"/>
        </pc:sldMkLst>
        <pc:graphicFrameChg chg="add del mod modGraphic">
          <ac:chgData name="Alex Bondarenko" userId="S::oleksandr.bondarenko@avanade.com::13ce5e32-3dab-4a17-85d0-dd28ac84fb45" providerId="AD" clId="Web-{1F5C8040-07C1-4875-AA73-C826B9C5A680}" dt="2022-08-10T01:28:30.776" v="72"/>
          <ac:graphicFrameMkLst>
            <pc:docMk/>
            <pc:sldMk cId="1627358404" sldId="2147470457"/>
            <ac:graphicFrameMk id="4" creationId="{A7B76699-B232-40B0-8B04-19208A9061FF}"/>
          </ac:graphicFrameMkLst>
        </pc:graphicFrameChg>
        <pc:graphicFrameChg chg="mod modGraphic">
          <ac:chgData name="Alex Bondarenko" userId="S::oleksandr.bondarenko@avanade.com::13ce5e32-3dab-4a17-85d0-dd28ac84fb45" providerId="AD" clId="Web-{1F5C8040-07C1-4875-AA73-C826B9C5A680}" dt="2022-08-10T01:31:55.414" v="220"/>
          <ac:graphicFrameMkLst>
            <pc:docMk/>
            <pc:sldMk cId="1627358404" sldId="2147470457"/>
            <ac:graphicFrameMk id="6" creationId="{1BDBA10A-19B6-498A-770A-8FD09A6DC6A2}"/>
          </ac:graphicFrameMkLst>
        </pc:graphicFrameChg>
        <pc:graphicFrameChg chg="mod modGraphic">
          <ac:chgData name="Alex Bondarenko" userId="S::oleksandr.bondarenko@avanade.com::13ce5e32-3dab-4a17-85d0-dd28ac84fb45" providerId="AD" clId="Web-{1F5C8040-07C1-4875-AA73-C826B9C5A680}" dt="2022-08-10T01:30:33.268" v="197"/>
          <ac:graphicFrameMkLst>
            <pc:docMk/>
            <pc:sldMk cId="1627358404" sldId="2147470457"/>
            <ac:graphicFrameMk id="7" creationId="{6B4F2774-2408-E37C-12E2-BA669C70231E}"/>
          </ac:graphicFrameMkLst>
        </pc:graphicFrameChg>
        <pc:graphicFrameChg chg="mod modGraphic">
          <ac:chgData name="Alex Bondarenko" userId="S::oleksandr.bondarenko@avanade.com::13ce5e32-3dab-4a17-85d0-dd28ac84fb45" providerId="AD" clId="Web-{1F5C8040-07C1-4875-AA73-C826B9C5A680}" dt="2022-08-10T01:29:43.124" v="185"/>
          <ac:graphicFrameMkLst>
            <pc:docMk/>
            <pc:sldMk cId="1627358404" sldId="2147470457"/>
            <ac:graphicFrameMk id="10" creationId="{A6BF71CE-DFA1-2C0B-B8B5-2B77BE8DA19D}"/>
          </ac:graphicFrameMkLst>
        </pc:graphicFrameChg>
      </pc:sldChg>
      <pc:sldChg chg="addSp delSp modSp">
        <pc:chgData name="Alex Bondarenko" userId="S::oleksandr.bondarenko@avanade.com::13ce5e32-3dab-4a17-85d0-dd28ac84fb45" providerId="AD" clId="Web-{1F5C8040-07C1-4875-AA73-C826B9C5A680}" dt="2022-08-10T01:37:02.278" v="230" actId="1076"/>
        <pc:sldMkLst>
          <pc:docMk/>
          <pc:sldMk cId="2493293888" sldId="2147470458"/>
        </pc:sldMkLst>
        <pc:spChg chg="del mod">
          <ac:chgData name="Alex Bondarenko" userId="S::oleksandr.bondarenko@avanade.com::13ce5e32-3dab-4a17-85d0-dd28ac84fb45" providerId="AD" clId="Web-{1F5C8040-07C1-4875-AA73-C826B9C5A680}" dt="2022-08-10T01:36:29.104" v="227"/>
          <ac:spMkLst>
            <pc:docMk/>
            <pc:sldMk cId="2493293888" sldId="2147470458"/>
            <ac:spMk id="4" creationId="{027F379C-8B3A-900B-BF61-F3FA39C5673D}"/>
          </ac:spMkLst>
        </pc:spChg>
        <pc:spChg chg="del mod">
          <ac:chgData name="Alex Bondarenko" userId="S::oleksandr.bondarenko@avanade.com::13ce5e32-3dab-4a17-85d0-dd28ac84fb45" providerId="AD" clId="Web-{1F5C8040-07C1-4875-AA73-C826B9C5A680}" dt="2022-08-10T01:32:24.025" v="222"/>
          <ac:spMkLst>
            <pc:docMk/>
            <pc:sldMk cId="2493293888" sldId="2147470458"/>
            <ac:spMk id="9" creationId="{027969DA-02B8-9C03-AEC1-EC87D23315E3}"/>
          </ac:spMkLst>
        </pc:spChg>
        <pc:graphicFrameChg chg="add del mod">
          <ac:chgData name="Alex Bondarenko" userId="S::oleksandr.bondarenko@avanade.com::13ce5e32-3dab-4a17-85d0-dd28ac84fb45" providerId="AD" clId="Web-{1F5C8040-07C1-4875-AA73-C826B9C5A680}" dt="2022-08-10T01:36:18.072" v="224"/>
          <ac:graphicFrameMkLst>
            <pc:docMk/>
            <pc:sldMk cId="2493293888" sldId="2147470458"/>
            <ac:graphicFrameMk id="6" creationId="{80F81C24-A01F-DA74-DE6D-35B49622AB39}"/>
          </ac:graphicFrameMkLst>
        </pc:graphicFrameChg>
        <pc:graphicFrameChg chg="add mod">
          <ac:chgData name="Alex Bondarenko" userId="S::oleksandr.bondarenko@avanade.com::13ce5e32-3dab-4a17-85d0-dd28ac84fb45" providerId="AD" clId="Web-{1F5C8040-07C1-4875-AA73-C826B9C5A680}" dt="2022-08-10T01:37:02.278" v="230" actId="1076"/>
          <ac:graphicFrameMkLst>
            <pc:docMk/>
            <pc:sldMk cId="2493293888" sldId="2147470458"/>
            <ac:graphicFrameMk id="8" creationId="{41C99527-DCB0-9AAC-31C5-56D1A7312158}"/>
          </ac:graphicFrameMkLst>
        </pc:graphicFrameChg>
        <pc:picChg chg="del">
          <ac:chgData name="Alex Bondarenko" userId="S::oleksandr.bondarenko@avanade.com::13ce5e32-3dab-4a17-85d0-dd28ac84fb45" providerId="AD" clId="Web-{1F5C8040-07C1-4875-AA73-C826B9C5A680}" dt="2022-08-10T01:36:22.604" v="225"/>
          <ac:picMkLst>
            <pc:docMk/>
            <pc:sldMk cId="2493293888" sldId="2147470458"/>
            <ac:picMk id="1026" creationId="{491A1FD3-E761-48E2-80F8-A5884AB88A99}"/>
          </ac:picMkLst>
        </pc:picChg>
      </pc:sldChg>
      <pc:sldChg chg="delSp modSp add">
        <pc:chgData name="Alex Bondarenko" userId="S::oleksandr.bondarenko@avanade.com::13ce5e32-3dab-4a17-85d0-dd28ac84fb45" providerId="AD" clId="Web-{1F5C8040-07C1-4875-AA73-C826B9C5A680}" dt="2022-08-10T01:37:54.985" v="262"/>
        <pc:sldMkLst>
          <pc:docMk/>
          <pc:sldMk cId="4221500222" sldId="2147470462"/>
        </pc:sldMkLst>
        <pc:spChg chg="del">
          <ac:chgData name="Alex Bondarenko" userId="S::oleksandr.bondarenko@avanade.com::13ce5e32-3dab-4a17-85d0-dd28ac84fb45" providerId="AD" clId="Web-{1F5C8040-07C1-4875-AA73-C826B9C5A680}" dt="2022-08-10T01:37:50.125" v="256"/>
          <ac:spMkLst>
            <pc:docMk/>
            <pc:sldMk cId="4221500222" sldId="2147470462"/>
            <ac:spMk id="4" creationId="{FB0E6601-D796-4960-1750-63D184C62F26}"/>
          </ac:spMkLst>
        </pc:spChg>
        <pc:spChg chg="mod">
          <ac:chgData name="Alex Bondarenko" userId="S::oleksandr.bondarenko@avanade.com::13ce5e32-3dab-4a17-85d0-dd28ac84fb45" providerId="AD" clId="Web-{1F5C8040-07C1-4875-AA73-C826B9C5A680}" dt="2022-08-10T01:37:44.796" v="255" actId="20577"/>
          <ac:spMkLst>
            <pc:docMk/>
            <pc:sldMk cId="4221500222" sldId="2147470462"/>
            <ac:spMk id="6" creationId="{ADD7D3D0-A076-4CAC-8EBC-578C414319BE}"/>
          </ac:spMkLst>
        </pc:spChg>
        <pc:graphicFrameChg chg="del mod modGraphic">
          <ac:chgData name="Alex Bondarenko" userId="S::oleksandr.bondarenko@avanade.com::13ce5e32-3dab-4a17-85d0-dd28ac84fb45" providerId="AD" clId="Web-{1F5C8040-07C1-4875-AA73-C826B9C5A680}" dt="2022-08-10T01:37:52.531" v="259"/>
          <ac:graphicFrameMkLst>
            <pc:docMk/>
            <pc:sldMk cId="4221500222" sldId="2147470462"/>
            <ac:graphicFrameMk id="2" creationId="{062258C8-6C3A-53EB-9186-4F2441367F63}"/>
          </ac:graphicFrameMkLst>
        </pc:graphicFrameChg>
        <pc:graphicFrameChg chg="del mod modGraphic">
          <ac:chgData name="Alex Bondarenko" userId="S::oleksandr.bondarenko@avanade.com::13ce5e32-3dab-4a17-85d0-dd28ac84fb45" providerId="AD" clId="Web-{1F5C8040-07C1-4875-AA73-C826B9C5A680}" dt="2022-08-10T01:37:54.985" v="262"/>
          <ac:graphicFrameMkLst>
            <pc:docMk/>
            <pc:sldMk cId="4221500222" sldId="2147470462"/>
            <ac:graphicFrameMk id="28" creationId="{9F5F7011-A563-9DAF-23F2-226FD15E8FC9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1437B1C-CD22-44D2-ABD1-B5B76CB58C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EA63F1-1712-4146-AD2B-D2DBE0B97E4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02597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r">
              <a:defRPr sz="1300"/>
            </a:lvl1pPr>
          </a:lstStyle>
          <a:p>
            <a:fld id="{9B67C320-D9A7-4448-92D3-F1B708B39680}" type="datetimeFigureOut">
              <a:rPr lang="en-AU" smtClean="0"/>
              <a:t>10/08/2022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BF23F0-78CA-454D-8380-871AF4ABC49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B122B1-7FD4-4F7D-8D0C-F640ABC3965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02597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r">
              <a:defRPr sz="1300"/>
            </a:lvl1pPr>
          </a:lstStyle>
          <a:p>
            <a:fld id="{AEAB284A-7447-4F37-B8AB-EA9D216DB5F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653176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2597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r">
              <a:defRPr sz="1300"/>
            </a:lvl1pPr>
          </a:lstStyle>
          <a:p>
            <a:fld id="{86708173-BFA6-4741-8ABA-B777CEB02B50}" type="datetimeFigureOut">
              <a:rPr lang="en-AU" smtClean="0"/>
              <a:t>10/08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11862" cy="33829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173" tIns="48587" rIns="97173" bIns="48587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975" y="4823033"/>
            <a:ext cx="5511800" cy="3946118"/>
          </a:xfrm>
          <a:prstGeom prst="rect">
            <a:avLst/>
          </a:prstGeom>
        </p:spPr>
        <p:txBody>
          <a:bodyPr vert="horz" lIns="97173" tIns="48587" rIns="97173" bIns="4858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2597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r">
              <a:defRPr sz="1300"/>
            </a:lvl1pPr>
          </a:lstStyle>
          <a:p>
            <a:fld id="{D7FF452E-224D-4FAB-8E95-F18F4E6C5DE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117433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25215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/>
              <a:t>Review server w/ </a:t>
            </a:r>
            <a:r>
              <a:rPr lang="en-AU" err="1"/>
              <a:t>Krithika</a:t>
            </a:r>
            <a:r>
              <a:rPr lang="en-AU"/>
              <a:t> || current SQL migration initiative “phase 20” w/ Simon </a:t>
            </a:r>
            <a:r>
              <a:rPr lang="en-AU" err="1"/>
              <a:t>Prichett</a:t>
            </a:r>
            <a:r>
              <a:rPr lang="en-AU"/>
              <a:t> || </a:t>
            </a:r>
          </a:p>
          <a:p>
            <a:r>
              <a:rPr lang="en-AU">
                <a:effectLst/>
                <a:latin typeface="-apple-system"/>
              </a:rPr>
              <a:t>Neil </a:t>
            </a:r>
            <a:r>
              <a:rPr lang="en-AU" err="1">
                <a:effectLst/>
                <a:latin typeface="-apple-system"/>
              </a:rPr>
              <a:t>Durnin</a:t>
            </a:r>
            <a:r>
              <a:rPr lang="en-AU">
                <a:effectLst/>
                <a:latin typeface="-apple-system"/>
              </a:rPr>
              <a:t> and Phil Hetherington (Identity Management Team) // Bala (owner) </a:t>
            </a:r>
            <a:r>
              <a:rPr lang="en-AU"/>
              <a:t> – Rio Tin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975989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/>
              <a:t>Review server w/ </a:t>
            </a:r>
            <a:r>
              <a:rPr lang="en-AU" err="1"/>
              <a:t>Krithika</a:t>
            </a:r>
            <a:r>
              <a:rPr lang="en-AU"/>
              <a:t> || current SQL migration initiative “phase 20” w/ Simon </a:t>
            </a:r>
            <a:r>
              <a:rPr lang="en-AU" err="1"/>
              <a:t>Prichett</a:t>
            </a:r>
            <a:r>
              <a:rPr lang="en-AU"/>
              <a:t> || </a:t>
            </a:r>
          </a:p>
          <a:p>
            <a:r>
              <a:rPr lang="en-AU">
                <a:effectLst/>
                <a:latin typeface="-apple-system"/>
              </a:rPr>
              <a:t>Neil </a:t>
            </a:r>
            <a:r>
              <a:rPr lang="en-AU" err="1">
                <a:effectLst/>
                <a:latin typeface="-apple-system"/>
              </a:rPr>
              <a:t>Durnin</a:t>
            </a:r>
            <a:r>
              <a:rPr lang="en-AU">
                <a:effectLst/>
                <a:latin typeface="-apple-system"/>
              </a:rPr>
              <a:t> and Phil Hetherington (Identity Management Team) // Bala (owner) </a:t>
            </a:r>
            <a:r>
              <a:rPr lang="en-AU"/>
              <a:t> – Rio Tin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965937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383858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/>
              <a:t>Review server w/ </a:t>
            </a:r>
            <a:r>
              <a:rPr lang="en-AU" err="1"/>
              <a:t>Krithika</a:t>
            </a:r>
            <a:r>
              <a:rPr lang="en-AU"/>
              <a:t> || current SQL migration initiative “phase 20” w/ Simon </a:t>
            </a:r>
            <a:r>
              <a:rPr lang="en-AU" err="1"/>
              <a:t>Prichett</a:t>
            </a:r>
            <a:r>
              <a:rPr lang="en-AU"/>
              <a:t> || </a:t>
            </a:r>
          </a:p>
          <a:p>
            <a:r>
              <a:rPr lang="en-AU">
                <a:effectLst/>
                <a:latin typeface="-apple-system"/>
              </a:rPr>
              <a:t>Neil </a:t>
            </a:r>
            <a:r>
              <a:rPr lang="en-AU" err="1">
                <a:effectLst/>
                <a:latin typeface="-apple-system"/>
              </a:rPr>
              <a:t>Durnin</a:t>
            </a:r>
            <a:r>
              <a:rPr lang="en-AU">
                <a:effectLst/>
                <a:latin typeface="-apple-system"/>
              </a:rPr>
              <a:t> and Phil Hetherington (Identity Management Team) // </a:t>
            </a:r>
            <a:r>
              <a:rPr lang="en-AU" err="1">
                <a:effectLst/>
                <a:latin typeface="-apple-system"/>
              </a:rPr>
              <a:t>Bala</a:t>
            </a:r>
            <a:r>
              <a:rPr lang="en-AU">
                <a:effectLst/>
                <a:latin typeface="-apple-system"/>
              </a:rPr>
              <a:t> (owner) </a:t>
            </a:r>
            <a:r>
              <a:rPr lang="en-AU"/>
              <a:t> – Rio Tin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465118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/>
              <a:t>Review server w/ </a:t>
            </a:r>
            <a:r>
              <a:rPr lang="en-AU" err="1"/>
              <a:t>Krithika</a:t>
            </a:r>
            <a:r>
              <a:rPr lang="en-AU"/>
              <a:t> || current SQL migration initiative “phase 20” w/ Simon </a:t>
            </a:r>
            <a:r>
              <a:rPr lang="en-AU" err="1"/>
              <a:t>Prichett</a:t>
            </a:r>
            <a:r>
              <a:rPr lang="en-AU"/>
              <a:t> || </a:t>
            </a:r>
          </a:p>
          <a:p>
            <a:r>
              <a:rPr lang="en-AU">
                <a:effectLst/>
                <a:latin typeface="-apple-system"/>
              </a:rPr>
              <a:t>Neil </a:t>
            </a:r>
            <a:r>
              <a:rPr lang="en-AU" err="1">
                <a:effectLst/>
                <a:latin typeface="-apple-system"/>
              </a:rPr>
              <a:t>Durnin</a:t>
            </a:r>
            <a:r>
              <a:rPr lang="en-AU">
                <a:effectLst/>
                <a:latin typeface="-apple-system"/>
              </a:rPr>
              <a:t> and Phil Hetherington (Identity Management Team) // </a:t>
            </a:r>
            <a:r>
              <a:rPr lang="en-AU" err="1">
                <a:effectLst/>
                <a:latin typeface="-apple-system"/>
              </a:rPr>
              <a:t>Bala</a:t>
            </a:r>
            <a:r>
              <a:rPr lang="en-AU">
                <a:effectLst/>
                <a:latin typeface="-apple-system"/>
              </a:rPr>
              <a:t> (owner) </a:t>
            </a:r>
            <a:r>
              <a:rPr lang="en-AU"/>
              <a:t> – Rio Tin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465118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/>
              <a:t>Review server w/ </a:t>
            </a:r>
            <a:r>
              <a:rPr lang="en-AU" err="1"/>
              <a:t>Krithika</a:t>
            </a:r>
            <a:r>
              <a:rPr lang="en-AU"/>
              <a:t> || current SQL migration initiative “phase 20” w/ Simon </a:t>
            </a:r>
            <a:r>
              <a:rPr lang="en-AU" err="1"/>
              <a:t>Prichett</a:t>
            </a:r>
            <a:r>
              <a:rPr lang="en-AU"/>
              <a:t> || </a:t>
            </a:r>
          </a:p>
          <a:p>
            <a:r>
              <a:rPr lang="en-AU">
                <a:effectLst/>
                <a:latin typeface="-apple-system"/>
              </a:rPr>
              <a:t>Neil </a:t>
            </a:r>
            <a:r>
              <a:rPr lang="en-AU" err="1">
                <a:effectLst/>
                <a:latin typeface="-apple-system"/>
              </a:rPr>
              <a:t>Durnin</a:t>
            </a:r>
            <a:r>
              <a:rPr lang="en-AU">
                <a:effectLst/>
                <a:latin typeface="-apple-system"/>
              </a:rPr>
              <a:t> and Phil Hetherington (Identity Management Team) // </a:t>
            </a:r>
            <a:r>
              <a:rPr lang="en-AU" err="1">
                <a:effectLst/>
                <a:latin typeface="-apple-system"/>
              </a:rPr>
              <a:t>Bala</a:t>
            </a:r>
            <a:r>
              <a:rPr lang="en-AU">
                <a:effectLst/>
                <a:latin typeface="-apple-system"/>
              </a:rPr>
              <a:t> (owner) </a:t>
            </a:r>
            <a:r>
              <a:rPr lang="en-AU"/>
              <a:t> – Rio Tin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077815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691376" y="1524000"/>
            <a:ext cx="10783229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9983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7F2C7DF-21F8-7F43-AF2B-D19C00A05E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E23A24-5E29-4F5A-B780-9568AE9A51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6160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7BE495B-8D91-40D2-B88F-4A1B85973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84BA58F-6B00-43FF-8649-A324DD206A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2D9557-0A1C-4957-AD5F-C7766B5A24E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321225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F1777D9-15C5-4278-AD5F-EAE831BB5D8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26445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25965FF-30D6-4B26-A9FD-618888174D2C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2075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97959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>
            <a:extLst>
              <a:ext uri="{FF2B5EF4-FFF2-40B4-BE49-F238E27FC236}">
                <a16:creationId xmlns:a16="http://schemas.microsoft.com/office/drawing/2014/main" id="{09EF6935-AFD7-46C0-B8DC-F4109159682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C13DE71-BB7F-44F1-9F4C-FF2641223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B47697B-FE81-4829-9D0B-8D44222A63D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075D078-EC21-452D-A2D3-DA872C6AF75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321225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025D9FE-3B11-4D3B-961A-D066B72BE01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26445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9B8AD5B-92F7-40CB-8380-5473F043C5B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2075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69003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A74989-BEF5-42BA-A4DD-05E4DC35E65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79412" y="2214562"/>
            <a:ext cx="4073526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15866A6-5FB6-4879-B190-D941386C0FD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794250" y="2214562"/>
            <a:ext cx="7015164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3B3DBDE-DBD9-46CC-9B1B-F9883D754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88653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3AF63B48-9B81-462E-A24C-7037069CBAF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9FA043-6343-4D03-814F-5850BF226E9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40752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CD48AF5-9262-4894-95BB-043B9ECC4D65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791075" y="2214562"/>
            <a:ext cx="70164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8B85BA-F4F4-46EF-A7E1-F565ECC34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00211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ADB0E67-A0F8-4E12-9495-3388D2FEB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83396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7088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09137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0FDFCA-8C35-4BEB-8290-40897A6935A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82560" y="343563"/>
            <a:ext cx="9961200" cy="344487"/>
          </a:xfrm>
        </p:spPr>
        <p:txBody>
          <a:bodyPr/>
          <a:lstStyle>
            <a:lvl1pPr>
              <a:defRPr sz="2400">
                <a:solidFill>
                  <a:schemeClr val="accent2"/>
                </a:solidFill>
                <a:latin typeface="+mn-lt"/>
              </a:defRPr>
            </a:lvl1pPr>
            <a:lvl2pPr>
              <a:defRPr sz="2800">
                <a:latin typeface="Graphik-SemiboldItalic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A540C2-BE6F-43A7-AC94-C7ED493FD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737501"/>
            <a:ext cx="9961200" cy="681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13788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nd level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3D89FB-F4F6-4A24-8C33-915F53CD1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737501"/>
            <a:ext cx="9961200" cy="681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5CF75DE-1FDF-49B2-B4F0-B668E9A2A79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81600" y="343563"/>
            <a:ext cx="9961200" cy="344487"/>
          </a:xfrm>
        </p:spPr>
        <p:txBody>
          <a:bodyPr/>
          <a:lstStyle>
            <a:lvl1pPr>
              <a:defRPr sz="2400">
                <a:solidFill>
                  <a:schemeClr val="accent2"/>
                </a:solidFill>
                <a:latin typeface="+mn-lt"/>
              </a:defRPr>
            </a:lvl1pPr>
            <a:lvl2pPr>
              <a:defRPr sz="2800">
                <a:latin typeface="Graphik-SemiboldItalic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2AEEA080-D398-4DA3-9A79-4960CAAA766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32776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36503908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24635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Image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524F47D-9BB1-1549-80A2-61517DF72D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74" y="0"/>
            <a:ext cx="12191999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A21FEE-B9D7-C04E-962C-AB7CD86400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53102" y="6217537"/>
            <a:ext cx="4388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E23A24-5E29-4F5A-B780-9568AE9A51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346863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ECFFB5DC-2193-446F-ABD4-D037F652B15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</p:spTree>
    <p:extLst>
      <p:ext uri="{BB962C8B-B14F-4D97-AF65-F5344CB8AC3E}">
        <p14:creationId xmlns:p14="http://schemas.microsoft.com/office/powerpoint/2010/main" val="21040847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(Positiv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17647" y="2755429"/>
            <a:ext cx="8541502" cy="1042344"/>
          </a:xfrm>
        </p:spPr>
        <p:txBody>
          <a:bodyPr tIns="198000" rIns="0" anchor="ctr">
            <a:spAutoFit/>
          </a:bodyPr>
          <a:lstStyle>
            <a:lvl1pPr>
              <a:lnSpc>
                <a:spcPct val="75000"/>
              </a:lnSpc>
              <a:defRPr sz="7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26877738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27916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7" pos="597">
          <p15:clr>
            <a:srgbClr val="FBAE40"/>
          </p15:clr>
        </p15:guide>
        <p15:guide id="8" pos="7083">
          <p15:clr>
            <a:srgbClr val="FBAE40"/>
          </p15:clr>
        </p15:guide>
        <p15:guide id="9" orient="horz" pos="119">
          <p15:clr>
            <a:srgbClr val="FBAE40"/>
          </p15:clr>
        </p15:guide>
        <p15:guide id="10" orient="horz" pos="392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F75F791-0044-4427-9767-3066DA05981F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38B1EC-FA17-45DA-8517-D23A942161D3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119807B-39A9-41FD-8CD3-CD67C006211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600" y="1278000"/>
            <a:ext cx="11437371" cy="514738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1468487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EAD9AED-9987-4CE9-B39D-B256B4620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</a:t>
            </a:r>
            <a:br>
              <a:rPr lang="en-GB"/>
            </a:br>
            <a:r>
              <a:rPr lang="en-GB"/>
              <a:t>(36pt, min 30pt)</a:t>
            </a:r>
            <a:endParaRPr lang="en-US"/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47788DB3-5AE6-4EE0-BA1A-48BA65E4F69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3478" y="1168671"/>
            <a:ext cx="11437371" cy="453183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 b="1" i="0">
                <a:solidFill>
                  <a:schemeClr val="tx1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20836114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Keypoints 2.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AEC53D-33B0-473F-8FEF-D044CEC2BAF7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9B17BB-C14B-484A-99D9-8407CA6285AE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4" name="White Rectangle">
            <a:extLst>
              <a:ext uri="{FF2B5EF4-FFF2-40B4-BE49-F238E27FC236}">
                <a16:creationId xmlns:a16="http://schemas.microsoft.com/office/drawing/2014/main" id="{7F85634B-D655-45F5-B274-ED1F723718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12192000" cy="26755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963D771-3DAE-41D9-951D-8B5213B39D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781" y="637200"/>
            <a:ext cx="5557322" cy="1061438"/>
          </a:xfrm>
        </p:spPr>
        <p:txBody>
          <a:bodyPr/>
          <a:lstStyle>
            <a:lvl1pPr>
              <a:defRPr sz="4400">
                <a:latin typeface="Graphik Semibold" panose="020B0703030202060203" pitchFamily="34" charset="0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DDCE2E31-D391-493B-B358-C32EC9B2584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600" y="1718824"/>
            <a:ext cx="5524500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09BFCDC0-631D-46D2-B500-99178E8EC2A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84912" y="-1"/>
            <a:ext cx="5907087" cy="6045201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3A9521C-1018-4C92-B2C0-6F99BF3459D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70456" y="3659421"/>
            <a:ext cx="2583882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55303EE-8D35-46EB-BCBD-89ABAC587C7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22636" y="3659421"/>
            <a:ext cx="2578227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067422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4519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eetings + Greater Than 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mputer on a table&#10;&#10;Description automatically generated with medium confidence">
            <a:extLst>
              <a:ext uri="{FF2B5EF4-FFF2-40B4-BE49-F238E27FC236}">
                <a16:creationId xmlns:a16="http://schemas.microsoft.com/office/drawing/2014/main" id="{5212DC28-081C-4B53-B7E5-95A76845C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966970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4FCB89E2-640C-4EE7-A7AE-2537E6D6CD37}"/>
              </a:ext>
            </a:extLst>
          </p:cNvPr>
          <p:cNvSpPr/>
          <p:nvPr userDrawn="1"/>
        </p:nvSpPr>
        <p:spPr>
          <a:xfrm flipH="1">
            <a:off x="0" y="0"/>
            <a:ext cx="7991061" cy="6858000"/>
          </a:xfrm>
          <a:prstGeom prst="rect">
            <a:avLst/>
          </a:prstGeom>
          <a:gradFill flip="none" rotWithShape="1">
            <a:gsLst>
              <a:gs pos="16000">
                <a:srgbClr val="7500C0">
                  <a:lumMod val="65000"/>
                  <a:alpha val="6000"/>
                </a:srgbClr>
              </a:gs>
              <a:gs pos="64000">
                <a:srgbClr val="460073">
                  <a:lumMod val="65000"/>
                  <a:alpha val="5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0D764ED-7FE8-4502-8389-7775F6BD9C37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50000"/>
                  <a:alpha val="32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1F886BB-4FFC-41F3-A51D-113007CF74B3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C32D3-DB02-4F1F-A282-561B7CCF2E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996" y="4429617"/>
            <a:ext cx="4494212" cy="246221"/>
          </a:xfrm>
          <a:prstGeom prst="rect">
            <a:avLst/>
          </a:prstGeom>
        </p:spPr>
        <p:txBody>
          <a:bodyPr tIns="0" bIns="0">
            <a:spAutoFit/>
          </a:bodyPr>
          <a:lstStyle>
            <a:lvl1pPr>
              <a:defRPr sz="1600" b="0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D025077-95DC-49A7-9B5F-D58671B13B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47" y="3368774"/>
            <a:ext cx="4970545" cy="54133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CD2CC8A-C5DC-4215-AC36-15FD01976D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3295" y="2286658"/>
            <a:ext cx="4970545" cy="97872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3600" b="1" i="0" cap="none">
                <a:solidFill>
                  <a:schemeClr val="tx1"/>
                </a:solidFill>
                <a:latin typeface="Graphik Black" panose="020B0503030202060203" pitchFamily="34" charset="77"/>
              </a:defRPr>
            </a:lvl1pPr>
          </a:lstStyle>
          <a:p>
            <a:pPr lvl="0"/>
            <a:r>
              <a:rPr lang="en-US"/>
              <a:t>Presentation title goes he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3C8C200-F2F1-4537-8031-DACAE9F5708F}"/>
              </a:ext>
            </a:extLst>
          </p:cNvPr>
          <p:cNvGrpSpPr/>
          <p:nvPr userDrawn="1"/>
        </p:nvGrpSpPr>
        <p:grpSpPr>
          <a:xfrm>
            <a:off x="385491" y="451210"/>
            <a:ext cx="4851142" cy="671218"/>
            <a:chOff x="385491" y="6038005"/>
            <a:chExt cx="2897417" cy="400895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D47088F6-0520-427B-B0F2-5AAB654DA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834798" y="6074781"/>
              <a:ext cx="1448110" cy="364119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52373D85-8B9E-4F77-937B-7F622C24C2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85491" y="6038005"/>
              <a:ext cx="1241875" cy="3257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03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69771"/>
          </a:xfr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8BBEE1C-072C-4BA5-B5C9-04DA2C242B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895" y="804060"/>
            <a:ext cx="11430000" cy="552542"/>
          </a:xfrm>
          <a:prstGeom prst="rect">
            <a:avLst/>
          </a:prstGeom>
        </p:spPr>
        <p:txBody>
          <a:bodyPr lIns="0" anchor="t"/>
          <a:lstStyle>
            <a:lvl1pPr>
              <a:defRPr sz="16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536010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218648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/>
          <p:cNvSpPr/>
          <p:nvPr userDrawn="1"/>
        </p:nvSpPr>
        <p:spPr>
          <a:xfrm>
            <a:off x="12218648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12215747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12215747" y="2883470"/>
            <a:ext cx="155791" cy="527538"/>
          </a:xfrm>
          <a:prstGeom prst="rect">
            <a:avLst/>
          </a:prstGeom>
          <a:solidFill>
            <a:srgbClr val="4B91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/>
          <p:cNvSpPr/>
          <p:nvPr userDrawn="1"/>
        </p:nvSpPr>
        <p:spPr>
          <a:xfrm>
            <a:off x="12215747" y="3460164"/>
            <a:ext cx="155791" cy="527538"/>
          </a:xfrm>
          <a:prstGeom prst="rect">
            <a:avLst/>
          </a:prstGeom>
          <a:solidFill>
            <a:srgbClr val="008C9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12215747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 userDrawn="1"/>
        </p:nvSpPr>
        <p:spPr>
          <a:xfrm>
            <a:off x="12215747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>
            <a:off x="12382950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12382950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12380049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>
            <a:off x="12380049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12380049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12380049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12380049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12218648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12382950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06168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7C10AFE-A1A0-400E-B25F-A15F6675A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6" y="1828879"/>
            <a:ext cx="5544000" cy="4225688"/>
          </a:xfrm>
        </p:spPr>
        <p:txBody>
          <a:bodyPr>
            <a:noAutofit/>
          </a:bodyPr>
          <a:lstStyle>
            <a:lvl1pPr>
              <a:defRPr sz="5400"/>
            </a:lvl1pPr>
          </a:lstStyle>
          <a:p>
            <a:r>
              <a:rPr lang="en-US"/>
              <a:t>Section introduction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BBA1B5-C077-429B-B8B5-3E4D80450C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828800"/>
            <a:ext cx="5544000" cy="4225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158350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724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691376" y="1132114"/>
            <a:ext cx="10783229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1pPr>
            <a:lvl2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2pPr>
            <a:lvl3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3pPr>
            <a:lvl4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4pPr>
            <a:lvl5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5145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1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USETH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5A9A54C-F7AC-FB49-AB30-4D18871E4C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22F011-1B5D-4908-8620-D3407CB489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985438-9978-43CA-8E43-12994E9F65B8}"/>
              </a:ext>
            </a:extLst>
          </p:cNvPr>
          <p:cNvSpPr/>
          <p:nvPr userDrawn="1"/>
        </p:nvSpPr>
        <p:spPr>
          <a:xfrm>
            <a:off x="694944" y="2"/>
            <a:ext cx="10789920" cy="45719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FFD700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74495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dentials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59B6915F-1823-4615-958F-D8D196ED86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94249" y="0"/>
            <a:ext cx="739775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975BB0-510C-4403-944C-3F8C375494EE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8" name="Company name">
            <a:extLst>
              <a:ext uri="{FF2B5EF4-FFF2-40B4-BE49-F238E27FC236}">
                <a16:creationId xmlns:a16="http://schemas.microsoft.com/office/drawing/2014/main" id="{985A2BE9-49A3-4D91-9A7D-F27A002C7A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4361" y="355824"/>
            <a:ext cx="4078578" cy="276999"/>
          </a:xfrm>
          <a:prstGeom prst="rect">
            <a:avLst/>
          </a:prstGeom>
        </p:spPr>
        <p:txBody>
          <a:bodyPr wrap="square" tIns="0" anchor="b" anchorCtr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 b="1" i="0" cap="none" baseline="0">
                <a:solidFill>
                  <a:schemeClr val="accent2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Company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3AC8A6-E8FF-4022-890E-5FB65EA4DC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360" y="746644"/>
            <a:ext cx="4078578" cy="1231913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66540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E9673F3F-F729-4631-BED7-FED0ADE758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169" y="6588493"/>
            <a:ext cx="438831" cy="26950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 b="0" i="0">
                <a:solidFill>
                  <a:schemeClr val="tx1"/>
                </a:solidFill>
                <a:latin typeface="Graphik" panose="020B0503030202060203" pitchFamily="34" charset="77"/>
                <a:cs typeface="Segoe UI Semibold" panose="020B0702040204020203" pitchFamily="34" charset="0"/>
              </a:defRPr>
            </a:lvl1pPr>
          </a:lstStyle>
          <a:p>
            <a:fld id="{0EE23A24-5E29-4F5A-B780-9568AE9A51DD}" type="slidenum">
              <a:rPr lang="en-PL" smtClean="0"/>
              <a:pPr/>
              <a:t>‹#›</a:t>
            </a:fld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33171032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45019" y="332077"/>
            <a:ext cx="11491382" cy="34471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800" spc="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0348E6-5543-453A-986B-9CF9B8A278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019" y="714365"/>
            <a:ext cx="11491382" cy="425708"/>
          </a:xfrm>
          <a:prstGeom prst="rect">
            <a:avLst/>
          </a:prstGeom>
        </p:spPr>
        <p:txBody>
          <a:bodyPr lIns="0" tIns="0" rIns="0" bIns="0"/>
          <a:lstStyle>
            <a:lvl1pPr algn="l" defTabSz="17346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i="0" kern="1200" cap="none" spc="0" baseline="0" dirty="0">
                <a:solidFill>
                  <a:schemeClr val="accent1"/>
                </a:solidFill>
                <a:latin typeface="Graphik Black" panose="020B0A03030202060203" pitchFamily="34" charset="0"/>
                <a:ea typeface="Graphik Black" panose="020B0A03030202060203" pitchFamily="34" charset="0"/>
                <a:cs typeface="Graphik Black" panose="020B0A03030202060203" pitchFamily="34" charset="0"/>
              </a:defRPr>
            </a:lvl1pPr>
          </a:lstStyle>
          <a:p>
            <a:pPr lvl="0"/>
            <a:r>
              <a:rPr lang="en-US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6986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rora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9817" y="1524000"/>
            <a:ext cx="5181600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3817" y="1524000"/>
            <a:ext cx="4936414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0231" y="6356350"/>
            <a:ext cx="496632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43548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eetings + Greater Than 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mputer on a table&#10;&#10;Description automatically generated with medium confidence">
            <a:extLst>
              <a:ext uri="{FF2B5EF4-FFF2-40B4-BE49-F238E27FC236}">
                <a16:creationId xmlns:a16="http://schemas.microsoft.com/office/drawing/2014/main" id="{5212DC28-081C-4B53-B7E5-95A76845C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966970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4FCB89E2-640C-4EE7-A7AE-2537E6D6CD37}"/>
              </a:ext>
            </a:extLst>
          </p:cNvPr>
          <p:cNvSpPr/>
          <p:nvPr userDrawn="1"/>
        </p:nvSpPr>
        <p:spPr>
          <a:xfrm flipH="1">
            <a:off x="0" y="0"/>
            <a:ext cx="7991061" cy="6858000"/>
          </a:xfrm>
          <a:prstGeom prst="rect">
            <a:avLst/>
          </a:prstGeom>
          <a:gradFill flip="none" rotWithShape="1">
            <a:gsLst>
              <a:gs pos="16000">
                <a:srgbClr val="7500C0">
                  <a:lumMod val="65000"/>
                  <a:alpha val="6000"/>
                </a:srgbClr>
              </a:gs>
              <a:gs pos="64000">
                <a:srgbClr val="460073">
                  <a:lumMod val="65000"/>
                  <a:alpha val="5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0D764ED-7FE8-4502-8389-7775F6BD9C37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50000"/>
                  <a:alpha val="32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1F886BB-4FFC-41F3-A51D-113007CF74B3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C32D3-DB02-4F1F-A282-561B7CCF2E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996" y="4429617"/>
            <a:ext cx="4494212" cy="246221"/>
          </a:xfrm>
          <a:prstGeom prst="rect">
            <a:avLst/>
          </a:prstGeom>
        </p:spPr>
        <p:txBody>
          <a:bodyPr tIns="0" bIns="0">
            <a:spAutoFit/>
          </a:bodyPr>
          <a:lstStyle>
            <a:lvl1pPr>
              <a:defRPr sz="1600" b="0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D025077-95DC-49A7-9B5F-D58671B13B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47" y="3368774"/>
            <a:ext cx="4970545" cy="54133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CD2CC8A-C5DC-4215-AC36-15FD01976D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3295" y="2286658"/>
            <a:ext cx="4970545" cy="97872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3600" b="1" i="0" cap="none">
                <a:solidFill>
                  <a:schemeClr val="tx1"/>
                </a:solidFill>
                <a:latin typeface="Graphik Black" panose="020B0503030202060203" pitchFamily="34" charset="77"/>
              </a:defRPr>
            </a:lvl1pPr>
          </a:lstStyle>
          <a:p>
            <a:pPr lvl="0"/>
            <a:r>
              <a:rPr lang="en-US"/>
              <a:t>Presentation title goes he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3C8C200-F2F1-4537-8031-DACAE9F5708F}"/>
              </a:ext>
            </a:extLst>
          </p:cNvPr>
          <p:cNvGrpSpPr/>
          <p:nvPr userDrawn="1"/>
        </p:nvGrpSpPr>
        <p:grpSpPr>
          <a:xfrm>
            <a:off x="385491" y="451210"/>
            <a:ext cx="4851142" cy="671218"/>
            <a:chOff x="385491" y="6038005"/>
            <a:chExt cx="2897417" cy="400895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D47088F6-0520-427B-B0F2-5AAB654DA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834798" y="6074781"/>
              <a:ext cx="1448110" cy="364119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52373D85-8B9E-4F77-937B-7F622C24C2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85491" y="6038005"/>
              <a:ext cx="1241875" cy="3257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47033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69771"/>
          </a:xfr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8BBEE1C-072C-4BA5-B5C9-04DA2C242B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895" y="804060"/>
            <a:ext cx="11430000" cy="552542"/>
          </a:xfrm>
          <a:prstGeom prst="rect">
            <a:avLst/>
          </a:prstGeom>
        </p:spPr>
        <p:txBody>
          <a:bodyPr lIns="0" anchor="t"/>
          <a:lstStyle>
            <a:lvl1pPr>
              <a:defRPr sz="16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086113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 gray wa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FE86BDB-6CCC-4164-BBE6-A5A72F629C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09FCC80-4980-4346-8053-B3E63CB1B972}"/>
              </a:ext>
            </a:extLst>
          </p:cNvPr>
          <p:cNvSpPr/>
          <p:nvPr userDrawn="1"/>
        </p:nvSpPr>
        <p:spPr>
          <a:xfrm flipH="1">
            <a:off x="-6" y="0"/>
            <a:ext cx="12192001" cy="6858000"/>
          </a:xfrm>
          <a:prstGeom prst="rect">
            <a:avLst/>
          </a:prstGeom>
          <a:gradFill flip="none" rotWithShape="1">
            <a:gsLst>
              <a:gs pos="0">
                <a:srgbClr val="7500C0">
                  <a:lumMod val="65000"/>
                  <a:alpha val="37000"/>
                </a:srgbClr>
              </a:gs>
              <a:gs pos="91000">
                <a:srgbClr val="460073">
                  <a:lumMod val="65000"/>
                  <a:alpha val="94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178D1DDA-5C3B-C442-A8B8-A1A521B671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945" y="822960"/>
            <a:ext cx="6421462" cy="1421928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>
              <a:defRPr lang="en-US" sz="5400" b="1" dirty="0">
                <a:solidFill>
                  <a:schemeClr val="bg1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F22D306-4E3B-4B05-B44F-56C9326D35F0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</a:rPr>
              <a:t>Copyright © 2022 Accenture/Avanade. All rights reserved.</a:t>
            </a:r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F646CDF-8270-49A9-B3C7-C28EC31D44AE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/>
                </a:solidFill>
              </a:rPr>
              <a:t>‹#›</a:t>
            </a:fld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7" name="Slide Number Placeholder 6">
            <a:extLst>
              <a:ext uri="{FF2B5EF4-FFF2-40B4-BE49-F238E27FC236}">
                <a16:creationId xmlns:a16="http://schemas.microsoft.com/office/drawing/2014/main" id="{8F2438DC-7642-42E3-851B-DD748E3988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bg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pic>
        <p:nvPicPr>
          <p:cNvPr id="10" name="Acc_CoreBrand_Logo_Black_Purple">
            <a:extLst>
              <a:ext uri="{FF2B5EF4-FFF2-40B4-BE49-F238E27FC236}">
                <a16:creationId xmlns:a16="http://schemas.microsoft.com/office/drawing/2014/main" id="{768327AF-302A-AF45-92E5-6720AD2FA7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81000" y="6485377"/>
            <a:ext cx="788581" cy="2068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D5C4743-BEEA-BB41-BC91-7E497CD542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177200" y="6417572"/>
            <a:ext cx="1085939" cy="399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1654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CF415F-3689-45B9-9B4F-EC0507DDDA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413" y="2214563"/>
            <a:ext cx="9958387" cy="38417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6F93B3A-1669-41E7-9EBD-EB1A7B476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21046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218648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/>
          <p:cNvSpPr/>
          <p:nvPr userDrawn="1"/>
        </p:nvSpPr>
        <p:spPr>
          <a:xfrm>
            <a:off x="12218648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12215747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12215747" y="2883470"/>
            <a:ext cx="155791" cy="527538"/>
          </a:xfrm>
          <a:prstGeom prst="rect">
            <a:avLst/>
          </a:prstGeom>
          <a:solidFill>
            <a:srgbClr val="4B91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/>
          <p:cNvSpPr/>
          <p:nvPr userDrawn="1"/>
        </p:nvSpPr>
        <p:spPr>
          <a:xfrm>
            <a:off x="12215747" y="3460164"/>
            <a:ext cx="155791" cy="527538"/>
          </a:xfrm>
          <a:prstGeom prst="rect">
            <a:avLst/>
          </a:prstGeom>
          <a:solidFill>
            <a:srgbClr val="008C9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12215747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 userDrawn="1"/>
        </p:nvSpPr>
        <p:spPr>
          <a:xfrm>
            <a:off x="12215747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>
            <a:off x="12382950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12382950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12380049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>
            <a:off x="12380049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12380049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12380049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12380049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12218648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12382950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70043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280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691376" y="1132114"/>
            <a:ext cx="10783229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1pPr>
            <a:lvl2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2pPr>
            <a:lvl3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3pPr>
            <a:lvl4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4pPr>
            <a:lvl5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61454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1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USETH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5A9A54C-F7AC-FB49-AB30-4D18871E4C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22F011-1B5D-4908-8620-D3407CB489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985438-9978-43CA-8E43-12994E9F65B8}"/>
              </a:ext>
            </a:extLst>
          </p:cNvPr>
          <p:cNvSpPr/>
          <p:nvPr userDrawn="1"/>
        </p:nvSpPr>
        <p:spPr>
          <a:xfrm>
            <a:off x="694944" y="2"/>
            <a:ext cx="10789920" cy="45719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FFD700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0933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dentials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59B6915F-1823-4615-958F-D8D196ED86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94249" y="0"/>
            <a:ext cx="739775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975BB0-510C-4403-944C-3F8C375494EE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8" name="Company name">
            <a:extLst>
              <a:ext uri="{FF2B5EF4-FFF2-40B4-BE49-F238E27FC236}">
                <a16:creationId xmlns:a16="http://schemas.microsoft.com/office/drawing/2014/main" id="{985A2BE9-49A3-4D91-9A7D-F27A002C7A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4361" y="355824"/>
            <a:ext cx="4078578" cy="276999"/>
          </a:xfrm>
          <a:prstGeom prst="rect">
            <a:avLst/>
          </a:prstGeom>
        </p:spPr>
        <p:txBody>
          <a:bodyPr wrap="square" tIns="0" anchor="b" anchorCtr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 b="1" i="0" cap="none" baseline="0">
                <a:solidFill>
                  <a:schemeClr val="accent2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Company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3AC8A6-E8FF-4022-890E-5FB65EA4DC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360" y="746644"/>
            <a:ext cx="4078578" cy="1231913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326865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E9673F3F-F729-4631-BED7-FED0ADE758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169" y="6588493"/>
            <a:ext cx="438831" cy="26950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 b="0" i="0">
                <a:solidFill>
                  <a:schemeClr val="tx1"/>
                </a:solidFill>
                <a:latin typeface="Graphik" panose="020B0503030202060203" pitchFamily="34" charset="77"/>
                <a:cs typeface="Segoe UI Semibold" panose="020B0702040204020203" pitchFamily="34" charset="0"/>
              </a:defRPr>
            </a:lvl1pPr>
          </a:lstStyle>
          <a:p>
            <a:fld id="{0EE23A24-5E29-4F5A-B780-9568AE9A51DD}" type="slidenum">
              <a:rPr lang="en-PL" smtClean="0"/>
              <a:pPr/>
              <a:t>‹#›</a:t>
            </a:fld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29020640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45019" y="332077"/>
            <a:ext cx="11491382" cy="34471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800" spc="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0348E6-5543-453A-986B-9CF9B8A278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019" y="714365"/>
            <a:ext cx="11491382" cy="425708"/>
          </a:xfrm>
          <a:prstGeom prst="rect">
            <a:avLst/>
          </a:prstGeom>
        </p:spPr>
        <p:txBody>
          <a:bodyPr lIns="0" tIns="0" rIns="0" bIns="0"/>
          <a:lstStyle>
            <a:lvl1pPr algn="l" defTabSz="17346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i="0" kern="1200" cap="none" spc="0" baseline="0" dirty="0">
                <a:solidFill>
                  <a:schemeClr val="accent1"/>
                </a:solidFill>
                <a:latin typeface="Graphik Black" panose="020B0A03030202060203" pitchFamily="34" charset="0"/>
                <a:ea typeface="Graphik Black" panose="020B0A03030202060203" pitchFamily="34" charset="0"/>
                <a:cs typeface="Graphik Black" panose="020B0A03030202060203" pitchFamily="34" charset="0"/>
              </a:defRPr>
            </a:lvl1pPr>
          </a:lstStyle>
          <a:p>
            <a:pPr lvl="0"/>
            <a:r>
              <a:rPr lang="en-US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414075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rora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9817" y="1524000"/>
            <a:ext cx="5181600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3817" y="1524000"/>
            <a:ext cx="4936414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0231" y="6356350"/>
            <a:ext cx="496632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82320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2F61C189-E88E-47C6-9590-4DDA84807E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3F98DC-635B-4F7B-9683-E77B24BCA3C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79412" y="2214563"/>
            <a:ext cx="9961200" cy="38417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9D0C057-902E-4672-BC5C-A4E6DC861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39734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10234C-451D-4E7A-978E-9149C22956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9411" y="2214562"/>
            <a:ext cx="5544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913FF3-5E8B-41AA-94A1-F4AA28FA516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64275" y="2214562"/>
            <a:ext cx="5544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619DC44-9B98-430A-B97B-EF69DE5C4A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5400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4C416D66-6B95-48F7-9FB0-B95BAD09C3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5642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591809-FBD2-4002-800C-B479F8DF6C2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3"/>
            <a:ext cx="5544000" cy="38417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01527E2-5E08-409E-A34A-135B8A194FB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264275" y="2214563"/>
            <a:ext cx="5544000" cy="38417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A3A4C6D-5A5C-48BD-B6B8-3DA1446C86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40202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DF5F7E-7617-43D2-B152-68B0836A97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8000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DA8E03-1102-4085-98C9-F9B61291BEE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02329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51F0277-50C4-4538-A470-D7433428139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6657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41ACA55-677E-4E89-B5E2-D03A01982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66374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71927D01-A3FF-4204-B5DF-4AE350A462F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61336A-DB63-44D5-9F70-939E9EAA328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02F35-EE56-4849-A21F-FE8FB47E07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302707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34A3A8E-78C1-429B-81CB-462EB30FE36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227413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31FB091-0A9A-4850-9031-668F0F280A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74433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image" Target="../media/image3.emf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24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3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26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4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7.png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4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5.xml"/><Relationship Id="rId17" Type="http://schemas.openxmlformats.org/officeDocument/2006/relationships/image" Target="../media/image8.png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99237B9-7FF2-48F5-B86B-4208FDC672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53386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99237B9-7FF2-48F5-B86B-4208FDC672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4944" y="390719"/>
            <a:ext cx="10789921" cy="9983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4945" y="1524000"/>
            <a:ext cx="1078992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2218648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12218648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12215747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12215747" y="2883470"/>
            <a:ext cx="155791" cy="5275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12215747" y="3460164"/>
            <a:ext cx="155791" cy="5275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12215747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12215747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/>
          <p:cNvSpPr/>
          <p:nvPr userDrawn="1"/>
        </p:nvSpPr>
        <p:spPr>
          <a:xfrm>
            <a:off x="12382950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/>
          <p:cNvSpPr/>
          <p:nvPr userDrawn="1"/>
        </p:nvSpPr>
        <p:spPr>
          <a:xfrm>
            <a:off x="12382950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/>
          <p:cNvSpPr/>
          <p:nvPr userDrawn="1"/>
        </p:nvSpPr>
        <p:spPr>
          <a:xfrm>
            <a:off x="12380049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/>
          <p:cNvSpPr/>
          <p:nvPr userDrawn="1"/>
        </p:nvSpPr>
        <p:spPr>
          <a:xfrm>
            <a:off x="12380049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/>
          <p:cNvSpPr/>
          <p:nvPr userDrawn="1"/>
        </p:nvSpPr>
        <p:spPr>
          <a:xfrm>
            <a:off x="12380049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/>
          <p:cNvSpPr/>
          <p:nvPr userDrawn="1"/>
        </p:nvSpPr>
        <p:spPr>
          <a:xfrm>
            <a:off x="12380049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/>
          <p:cNvSpPr/>
          <p:nvPr userDrawn="1"/>
        </p:nvSpPr>
        <p:spPr>
          <a:xfrm>
            <a:off x="12380049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/>
          <p:cNvSpPr/>
          <p:nvPr userDrawn="1"/>
        </p:nvSpPr>
        <p:spPr>
          <a:xfrm>
            <a:off x="12218648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/>
          <p:cNvSpPr/>
          <p:nvPr userDrawn="1"/>
        </p:nvSpPr>
        <p:spPr>
          <a:xfrm>
            <a:off x="12382950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3487A4F-6663-4B11-A57C-4B1187B8FC92}"/>
              </a:ext>
            </a:extLst>
          </p:cNvPr>
          <p:cNvSpPr/>
          <p:nvPr userDrawn="1"/>
        </p:nvSpPr>
        <p:spPr>
          <a:xfrm>
            <a:off x="694944" y="0"/>
            <a:ext cx="10789920" cy="45719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FFD700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id="{18CD0548-9E46-DA43-A090-8E91594FD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3102" y="6217537"/>
            <a:ext cx="4388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fld id="{0EE23A24-5E29-4F5A-B780-9568AE9A51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7D415F4-5910-4A95-9C8B-5C8E7AE7B45E}"/>
              </a:ext>
            </a:extLst>
          </p:cNvPr>
          <p:cNvSpPr txBox="1"/>
          <p:nvPr userDrawn="1"/>
        </p:nvSpPr>
        <p:spPr>
          <a:xfrm>
            <a:off x="8288073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AU" sz="800">
                <a:solidFill>
                  <a:schemeClr val="tx1">
                    <a:alpha val="75000"/>
                  </a:schemeClr>
                </a:solidFill>
              </a:rPr>
              <a:t>Copyright © 2021 Accenture. All rights reserved. Confidential. </a:t>
            </a:r>
            <a:endParaRPr lang="en-AU" noProof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018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4000" r:id="rId2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Segoe UI Semibold" panose="020B0502040204020203" pitchFamily="34" charset="0"/>
          <a:ea typeface="Segoe UI Semibold" panose="020B0502040204020203" pitchFamily="34" charset="0"/>
          <a:cs typeface="Segoe UI Semibold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/>
        <a:buNone/>
        <a:defRPr sz="20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127ECF-3B2C-4958-A53B-DD06F97F17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16" imgH="416" progId="TCLayout.ActiveDocument.1">
                  <p:embed/>
                </p:oleObj>
              </mc:Choice>
              <mc:Fallback>
                <p:oleObj name="think-cell Slide" r:id="rId23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4127ECF-3B2C-4958-A53B-DD06F97F1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4121DC9-ED73-4C84-A33E-7697EF8A09C2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6398B6-6443-4D67-A365-3AF9C47C4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384069"/>
            <a:ext cx="9961200" cy="721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FFFA29-D1E3-47B0-8A22-1D402B88F9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9414" y="1828800"/>
            <a:ext cx="9959886" cy="42276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2C4EA6-96D4-4758-892E-0B9855AA29C6}"/>
              </a:ext>
            </a:extLst>
          </p:cNvPr>
          <p:cNvSpPr txBox="1"/>
          <p:nvPr userDrawn="1"/>
        </p:nvSpPr>
        <p:spPr>
          <a:xfrm>
            <a:off x="11583626" y="6414756"/>
            <a:ext cx="23594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D79F6B-D2B4-41B8-B8FC-E52BF754EDA5}" type="slidenum">
              <a:rPr lang="en-US" sz="800" smtClean="0"/>
              <a:t>‹#›</a:t>
            </a:fld>
            <a:endParaRPr lang="en-AU" sz="800"/>
          </a:p>
        </p:txBody>
      </p:sp>
    </p:spTree>
    <p:extLst>
      <p:ext uri="{BB962C8B-B14F-4D97-AF65-F5344CB8AC3E}">
        <p14:creationId xmlns:p14="http://schemas.microsoft.com/office/powerpoint/2010/main" val="2765298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3" r:id="rId18"/>
    <p:sldLayoutId id="2147483864" r:id="rId19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36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95">
          <p15:clr>
            <a:srgbClr val="F26B43"/>
          </p15:clr>
        </p15:guide>
        <p15:guide id="2" pos="239">
          <p15:clr>
            <a:srgbClr val="F26B43"/>
          </p15:clr>
        </p15:guide>
        <p15:guide id="3" pos="950">
          <p15:clr>
            <a:srgbClr val="F26B43"/>
          </p15:clr>
        </p15:guide>
        <p15:guide id="4" pos="1165">
          <p15:clr>
            <a:srgbClr val="F26B43"/>
          </p15:clr>
        </p15:guide>
        <p15:guide id="5" pos="1877">
          <p15:clr>
            <a:srgbClr val="F26B43"/>
          </p15:clr>
        </p15:guide>
        <p15:guide id="6" pos="2093">
          <p15:clr>
            <a:srgbClr val="F26B43"/>
          </p15:clr>
        </p15:guide>
        <p15:guide id="7" pos="2805">
          <p15:clr>
            <a:srgbClr val="F26B43"/>
          </p15:clr>
        </p15:guide>
        <p15:guide id="8" pos="3020">
          <p15:clr>
            <a:srgbClr val="F26B43"/>
          </p15:clr>
        </p15:guide>
        <p15:guide id="9" pos="3731">
          <p15:clr>
            <a:srgbClr val="F26B43"/>
          </p15:clr>
        </p15:guide>
        <p15:guide id="10" pos="3946">
          <p15:clr>
            <a:srgbClr val="F26B43"/>
          </p15:clr>
        </p15:guide>
        <p15:guide id="11" pos="4659">
          <p15:clr>
            <a:srgbClr val="F26B43"/>
          </p15:clr>
        </p15:guide>
        <p15:guide id="12" pos="4873">
          <p15:clr>
            <a:srgbClr val="F26B43"/>
          </p15:clr>
        </p15:guide>
        <p15:guide id="13" pos="5585">
          <p15:clr>
            <a:srgbClr val="F26B43"/>
          </p15:clr>
        </p15:guide>
        <p15:guide id="14" pos="5800">
          <p15:clr>
            <a:srgbClr val="F26B43"/>
          </p15:clr>
        </p15:guide>
        <p15:guide id="15" pos="6512">
          <p15:clr>
            <a:srgbClr val="F26B43"/>
          </p15:clr>
        </p15:guide>
        <p15:guide id="16" pos="6727">
          <p15:clr>
            <a:srgbClr val="F26B43"/>
          </p15:clr>
        </p15:guide>
        <p15:guide id="17" pos="7439">
          <p15:clr>
            <a:srgbClr val="F26B43"/>
          </p15:clr>
        </p15:guide>
        <p15:guide id="18" orient="horz" pos="4103">
          <p15:clr>
            <a:srgbClr val="F26B43"/>
          </p15:clr>
        </p15:guide>
        <p15:guide id="19" orient="horz" pos="3815">
          <p15:clr>
            <a:srgbClr val="F26B43"/>
          </p15:clr>
        </p15:guide>
        <p15:guide id="20" orient="horz" pos="2614">
          <p15:clr>
            <a:srgbClr val="F26B43"/>
          </p15:clr>
        </p15:guide>
        <p15:guide id="21" orient="horz" pos="1152">
          <p15:clr>
            <a:srgbClr val="F26B43"/>
          </p15:clr>
        </p15:guide>
        <p15:guide id="22" orient="horz" pos="240">
          <p15:clr>
            <a:srgbClr val="F26B43"/>
          </p15:clr>
        </p15:guide>
        <p15:guide id="23" pos="480">
          <p15:clr>
            <a:srgbClr val="5ACBF0"/>
          </p15:clr>
        </p15:guide>
        <p15:guide id="24" orient="horz" pos="480">
          <p15:clr>
            <a:srgbClr val="5ACBF0"/>
          </p15:clr>
        </p15:guide>
        <p15:guide id="25" pos="7198">
          <p15:clr>
            <a:srgbClr val="5ACBF0"/>
          </p15:clr>
        </p15:guide>
        <p15:guide id="26" orient="horz" pos="4214">
          <p15:clr>
            <a:srgbClr val="5ACBF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49251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4" name="Picture 13" descr="AvanadeLogoNoTM_AWColor_RGB.png">
            <a:extLst>
              <a:ext uri="{FF2B5EF4-FFF2-40B4-BE49-F238E27FC236}">
                <a16:creationId xmlns:a16="http://schemas.microsoft.com/office/drawing/2014/main" id="{3DB7AC2C-A9F3-4D51-875B-60CA03D53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70" b="15810"/>
          <a:stretch/>
        </p:blipFill>
        <p:spPr>
          <a:xfrm>
            <a:off x="1211977" y="6470444"/>
            <a:ext cx="1148452" cy="293855"/>
          </a:xfrm>
          <a:prstGeom prst="rect">
            <a:avLst/>
          </a:prstGeom>
        </p:spPr>
      </p:pic>
      <p:pic>
        <p:nvPicPr>
          <p:cNvPr id="15" name="Acc_CoreBrand_Logo_Black_Purple">
            <a:extLst>
              <a:ext uri="{FF2B5EF4-FFF2-40B4-BE49-F238E27FC236}">
                <a16:creationId xmlns:a16="http://schemas.microsoft.com/office/drawing/2014/main" id="{B9AB9BE8-B69D-49BE-8791-332B57EF2721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81000" y="6483127"/>
            <a:ext cx="788581" cy="21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649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22" r:id="rId4"/>
    <p:sldLayoutId id="2147483924" r:id="rId5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93018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95325" y="381000"/>
            <a:ext cx="10764838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4" name="Picture 13" descr="AvanadeLogoNoTM_AWColor_RGB.png">
            <a:extLst>
              <a:ext uri="{FF2B5EF4-FFF2-40B4-BE49-F238E27FC236}">
                <a16:creationId xmlns:a16="http://schemas.microsoft.com/office/drawing/2014/main" id="{3DB7AC2C-A9F3-4D51-875B-60CA03D53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1977" y="6470444"/>
            <a:ext cx="1148452" cy="293855"/>
          </a:xfrm>
          <a:prstGeom prst="rect">
            <a:avLst/>
          </a:prstGeom>
        </p:spPr>
      </p:pic>
      <p:pic>
        <p:nvPicPr>
          <p:cNvPr id="15" name="Acc_CoreBrand_Logo_Black_Purple">
            <a:extLst>
              <a:ext uri="{FF2B5EF4-FFF2-40B4-BE49-F238E27FC236}">
                <a16:creationId xmlns:a16="http://schemas.microsoft.com/office/drawing/2014/main" id="{B9AB9BE8-B69D-49BE-8791-332B57EF272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3127"/>
            <a:ext cx="788581" cy="21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67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53" r:id="rId3"/>
    <p:sldLayoutId id="2147483954" r:id="rId4"/>
    <p:sldLayoutId id="2147483955" r:id="rId5"/>
    <p:sldLayoutId id="2147483957" r:id="rId6"/>
    <p:sldLayoutId id="2147483958" r:id="rId7"/>
    <p:sldLayoutId id="2147483959" r:id="rId8"/>
    <p:sldLayoutId id="2147483960" r:id="rId9"/>
    <p:sldLayoutId id="2147483961" r:id="rId10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  <p15:guide id="11" pos="438">
          <p15:clr>
            <a:srgbClr val="5ACBF0"/>
          </p15:clr>
        </p15:guide>
        <p15:guide id="12" pos="7219">
          <p15:clr>
            <a:srgbClr val="5ACBF0"/>
          </p15:clr>
        </p15:guide>
        <p15:guide id="13" pos="3840">
          <p15:clr>
            <a:srgbClr val="5ACBF0"/>
          </p15:clr>
        </p15:guide>
        <p15:guide id="14" pos="3727">
          <p15:clr>
            <a:srgbClr val="5ACBF0"/>
          </p15:clr>
        </p15:guide>
        <p15:guide id="15" pos="3953">
          <p15:clr>
            <a:srgbClr val="5ACBF0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40030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95325" y="381000"/>
            <a:ext cx="10764838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4" name="Picture 13" descr="AvanadeLogoNoTM_AWColor_RGB.png">
            <a:extLst>
              <a:ext uri="{FF2B5EF4-FFF2-40B4-BE49-F238E27FC236}">
                <a16:creationId xmlns:a16="http://schemas.microsoft.com/office/drawing/2014/main" id="{3DB7AC2C-A9F3-4D51-875B-60CA03D53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1977" y="6470444"/>
            <a:ext cx="1148452" cy="293855"/>
          </a:xfrm>
          <a:prstGeom prst="rect">
            <a:avLst/>
          </a:prstGeom>
        </p:spPr>
      </p:pic>
      <p:pic>
        <p:nvPicPr>
          <p:cNvPr id="15" name="Acc_CoreBrand_Logo_Black_Purple">
            <a:extLst>
              <a:ext uri="{FF2B5EF4-FFF2-40B4-BE49-F238E27FC236}">
                <a16:creationId xmlns:a16="http://schemas.microsoft.com/office/drawing/2014/main" id="{B9AB9BE8-B69D-49BE-8791-332B57EF2721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3127"/>
            <a:ext cx="788581" cy="21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855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87" r:id="rId3"/>
    <p:sldLayoutId id="2147483990" r:id="rId4"/>
    <p:sldLayoutId id="2147483991" r:id="rId5"/>
    <p:sldLayoutId id="2147483992" r:id="rId6"/>
    <p:sldLayoutId id="2147483994" r:id="rId7"/>
    <p:sldLayoutId id="2147483995" r:id="rId8"/>
    <p:sldLayoutId id="2147483996" r:id="rId9"/>
    <p:sldLayoutId id="2147483997" r:id="rId10"/>
    <p:sldLayoutId id="2147483998" r:id="rId11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  <p15:guide id="11" pos="438">
          <p15:clr>
            <a:srgbClr val="5ACBF0"/>
          </p15:clr>
        </p15:guide>
        <p15:guide id="12" pos="7219">
          <p15:clr>
            <a:srgbClr val="5ACBF0"/>
          </p15:clr>
        </p15:guide>
        <p15:guide id="13" pos="3840">
          <p15:clr>
            <a:srgbClr val="5ACBF0"/>
          </p15:clr>
        </p15:guide>
        <p15:guide id="14" pos="3727">
          <p15:clr>
            <a:srgbClr val="5ACBF0"/>
          </p15:clr>
        </p15:guide>
        <p15:guide id="15" pos="3953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19.jpe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5.xml"/><Relationship Id="rId6" Type="http://schemas.openxmlformats.org/officeDocument/2006/relationships/hyperlink" Target="https://riotinto.sharepoint.com/:x:/r/sites/S2093-ServerHardening-CyberSecurityPortfolio2022/_layouts/15/Doc.aspx?sourcedoc=%7BBA12C123-48AA-4279-907A-459D44635AD2%7D&amp;file=Server%20List%20Pilot%20phase%20all%20vulnerabilities%20Draft%201.0.xlsx&amp;action=default&amp;mobileredirect=true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id="{C6E3B756-37E7-4B4D-A2B4-32D422D145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043"/>
          <a:stretch/>
        </p:blipFill>
        <p:spPr bwMode="auto">
          <a:xfrm flipH="1">
            <a:off x="6831" y="0"/>
            <a:ext cx="523502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28C33AE7-730D-4E16-97AB-FAA945E804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20" r="25320"/>
          <a:stretch/>
        </p:blipFill>
        <p:spPr bwMode="auto">
          <a:xfrm>
            <a:off x="0" y="0"/>
            <a:ext cx="603207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D62A5F4-995F-4148-9843-F04736B93C25}"/>
              </a:ext>
            </a:extLst>
          </p:cNvPr>
          <p:cNvSpPr/>
          <p:nvPr/>
        </p:nvSpPr>
        <p:spPr>
          <a:xfrm>
            <a:off x="6831" y="0"/>
            <a:ext cx="12192000" cy="6858002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70000">
                <a:schemeClr val="tx1">
                  <a:alpha val="30000"/>
                </a:schemeClr>
              </a:gs>
              <a:gs pos="100000">
                <a:schemeClr val="tx1">
                  <a:alpha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A6F256-850E-44D7-AEFA-2E0CD2C75C0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 flipV="1">
            <a:off x="3462337" y="0"/>
            <a:ext cx="8729663" cy="685800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617812B-589B-45E6-9443-3FBB38A53F3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52718" y="6342070"/>
            <a:ext cx="1312223" cy="331466"/>
          </a:xfrm>
          <a:prstGeom prst="rect">
            <a:avLst/>
          </a:prstGeom>
        </p:spPr>
      </p:pic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6DDEEFC6-C43D-4558-AC36-A887E86E2F0F}"/>
              </a:ext>
            </a:extLst>
          </p:cNvPr>
          <p:cNvSpPr txBox="1">
            <a:spLocks/>
          </p:cNvSpPr>
          <p:nvPr/>
        </p:nvSpPr>
        <p:spPr>
          <a:xfrm>
            <a:off x="4754880" y="1584000"/>
            <a:ext cx="7036627" cy="3599528"/>
          </a:xfrm>
          <a:prstGeom prst="rect">
            <a:avLst/>
          </a:prstGeom>
        </p:spPr>
        <p:txBody>
          <a:bodyPr/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999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68559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1142657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599720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2056783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io Tinto </a:t>
            </a:r>
          </a:p>
          <a:p>
            <a:pPr>
              <a:spcBef>
                <a:spcPts val="0"/>
              </a:spcBef>
            </a:pPr>
            <a:endParaRPr lang="en-US" sz="36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0"/>
              </a:spcBef>
            </a:pPr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orkstream #4</a:t>
            </a:r>
          </a:p>
          <a:p>
            <a:pPr>
              <a:spcBef>
                <a:spcPts val="0"/>
              </a:spcBef>
            </a:pPr>
            <a:r>
              <a:rPr lang="en-US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ulnerability A3.1 Clear Text Password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447BED0-07AF-4712-975C-7550266F020A}"/>
              </a:ext>
            </a:extLst>
          </p:cNvPr>
          <p:cNvSpPr txBox="1">
            <a:spLocks/>
          </p:cNvSpPr>
          <p:nvPr/>
        </p:nvSpPr>
        <p:spPr>
          <a:xfrm>
            <a:off x="5050789" y="4217445"/>
            <a:ext cx="6444808" cy="64405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999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68559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1142657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599720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2056783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8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nning and Approach</a:t>
            </a:r>
          </a:p>
          <a:p>
            <a:pPr>
              <a:lnSpc>
                <a:spcPct val="150000"/>
              </a:lnSpc>
            </a:pPr>
            <a:endParaRPr lang="en-US" sz="1800">
              <a:solidFill>
                <a:schemeClr val="bg1"/>
              </a:solidFill>
              <a:latin typeface="Segoe UI"/>
              <a:cs typeface="Segoe UI"/>
            </a:endParaRPr>
          </a:p>
          <a:p>
            <a:pPr>
              <a:lnSpc>
                <a:spcPct val="150000"/>
              </a:lnSpc>
            </a:pPr>
            <a:endParaRPr lang="en-US" sz="1800">
              <a:solidFill>
                <a:schemeClr val="bg1"/>
              </a:solidFill>
              <a:latin typeface="Segoe UI"/>
              <a:cs typeface="Segoe UI"/>
            </a:endParaRPr>
          </a:p>
          <a:p>
            <a:pPr>
              <a:lnSpc>
                <a:spcPct val="150000"/>
              </a:lnSpc>
            </a:pPr>
            <a:r>
              <a:rPr lang="en-US" sz="1200">
                <a:solidFill>
                  <a:schemeClr val="bg1"/>
                </a:solidFill>
                <a:latin typeface="Segoe UI"/>
                <a:cs typeface="Segoe UI"/>
              </a:rPr>
              <a:t>Commercial in confidence</a:t>
            </a:r>
          </a:p>
        </p:txBody>
      </p:sp>
      <p:pic>
        <p:nvPicPr>
          <p:cNvPr id="10" name="Acc_CoreBrand_Logo_Black_Purple">
            <a:extLst>
              <a:ext uri="{FF2B5EF4-FFF2-40B4-BE49-F238E27FC236}">
                <a16:creationId xmlns:a16="http://schemas.microsoft.com/office/drawing/2014/main" id="{CD3FCD3D-9A6F-4B06-BE10-AACD9205A0E8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Photocopy/>
                    </a14:imgEffect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49613" y="6322050"/>
            <a:ext cx="1131724" cy="303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10088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2B7134-1B67-4A3C-139C-0CEE41F13129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2</a:t>
            </a:fld>
            <a:endParaRPr lang="en-CA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277EBF-2535-4910-80E8-064E3E9DE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Vulnerability A3.1 Clear Text Password (CTP) - Overview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8B05BAD0-C111-755E-CB01-652ED83A31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6130324"/>
              </p:ext>
            </p:extLst>
          </p:nvPr>
        </p:nvGraphicFramePr>
        <p:xfrm>
          <a:off x="380999" y="1120675"/>
          <a:ext cx="3439161" cy="2123267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439161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</a:tblGrid>
              <a:tr h="373490">
                <a:tc>
                  <a:txBody>
                    <a:bodyPr/>
                    <a:lstStyle/>
                    <a:p>
                      <a:r>
                        <a:rPr lang="en-AU" dirty="0"/>
                        <a:t>Description and Cyber Ris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1749777">
                <a:tc>
                  <a:txBody>
                    <a:bodyPr/>
                    <a:lstStyle/>
                    <a:p>
                      <a:pPr rtl="0"/>
                      <a:r>
                        <a:rPr lang="en-US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sence of cleartext credentials in application configuration and code files.  These credentials can allow an intruder to easily move laterally into databases and other system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BDBA10A-19B6-498A-770A-8FD09A6DC6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0697012"/>
              </p:ext>
            </p:extLst>
          </p:nvPr>
        </p:nvGraphicFramePr>
        <p:xfrm>
          <a:off x="4205500" y="1118402"/>
          <a:ext cx="3402307" cy="15595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402307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AU"/>
                        <a:t>How to dete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dirty="0"/>
                        <a:t>A PowerShell script querying config file on servers. If nothing returns after remediation, solution worked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B4F2774-2408-E37C-12E2-BA669C7023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9228669"/>
              </p:ext>
            </p:extLst>
          </p:nvPr>
        </p:nvGraphicFramePr>
        <p:xfrm>
          <a:off x="380999" y="3440233"/>
          <a:ext cx="3439161" cy="292608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439161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</a:tblGrid>
              <a:tr h="262525">
                <a:tc>
                  <a:txBody>
                    <a:bodyPr/>
                    <a:lstStyle/>
                    <a:p>
                      <a:r>
                        <a:rPr lang="en-AU"/>
                        <a:t>How to F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2034566">
                <a:tc>
                  <a:txBody>
                    <a:bodyPr/>
                    <a:lstStyle/>
                    <a:p>
                      <a:pPr marL="342900" indent="-342900">
                        <a:buAutoNum type="arabicPeriod"/>
                      </a:pPr>
                      <a:r>
                        <a:rPr lang="en-AU" dirty="0"/>
                        <a:t>Running set of PowerShell commands by login on to the server or remotely, will encrypt the content in web config files.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 server or IIS restart required. </a:t>
                      </a:r>
                      <a:endParaRPr lang="en-AU" dirty="0"/>
                    </a:p>
                    <a:p>
                      <a:pPr marL="0" indent="0">
                        <a:buNone/>
                      </a:pPr>
                      <a:endParaRPr lang="en-AU" dirty="0"/>
                    </a:p>
                    <a:p>
                      <a:pPr marL="0" indent="0">
                        <a:buNone/>
                      </a:pPr>
                      <a:r>
                        <a:rPr lang="en-AU" dirty="0"/>
                        <a:t>Estimated time: </a:t>
                      </a:r>
                      <a:r>
                        <a:rPr lang="en-AU" dirty="0">
                          <a:highlight>
                            <a:srgbClr val="FFFF00"/>
                          </a:highlight>
                        </a:rPr>
                        <a:t>5 mins (No Service Interruption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</a:tbl>
          </a:graphicData>
        </a:graphic>
      </p:graphicFrame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A6BF71CE-DFA1-2C0B-B8B5-2B77BE8DA1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4106049"/>
              </p:ext>
            </p:extLst>
          </p:nvPr>
        </p:nvGraphicFramePr>
        <p:xfrm>
          <a:off x="4132008" y="4042038"/>
          <a:ext cx="3524231" cy="17373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561930">
                  <a:extLst>
                    <a:ext uri="{9D8B030D-6E8A-4147-A177-3AD203B41FA5}">
                      <a16:colId xmlns:a16="http://schemas.microsoft.com/office/drawing/2014/main" val="1628208614"/>
                    </a:ext>
                  </a:extLst>
                </a:gridCol>
                <a:gridCol w="2962301">
                  <a:extLst>
                    <a:ext uri="{9D8B030D-6E8A-4147-A177-3AD203B41FA5}">
                      <a16:colId xmlns:a16="http://schemas.microsoft.com/office/drawing/2014/main" val="192507058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AU" b="0"/>
                        <a:t>X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AU" b="0" dirty="0"/>
                        <a:t>Rollback PowerShell scripts are available (to decrypt password information), however, no prior cases of rollback in previous pilot phase.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5927866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123CD4B3-7241-3BD1-DDF2-4AAFE883B6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5846518"/>
              </p:ext>
            </p:extLst>
          </p:nvPr>
        </p:nvGraphicFramePr>
        <p:xfrm>
          <a:off x="8397444" y="1118402"/>
          <a:ext cx="3250059" cy="1644877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250059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</a:tblGrid>
              <a:tr h="236824">
                <a:tc>
                  <a:txBody>
                    <a:bodyPr/>
                    <a:lstStyle/>
                    <a:p>
                      <a:r>
                        <a:rPr lang="en-AU"/>
                        <a:t>Update Impact Assess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127911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 compatibility assessment is required.  We did not experience any compatibility issue.</a:t>
                      </a:r>
                      <a:endParaRPr lang="en-US" sz="1800" b="0" kern="120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73584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990601"/>
          </a:xfrm>
        </p:spPr>
        <p:txBody>
          <a:bodyPr/>
          <a:lstStyle/>
          <a:p>
            <a:r>
              <a:rPr lang="en-US" sz="2800"/>
              <a:t>Remediation approach</a:t>
            </a:r>
            <a:endParaRPr lang="en-AU" sz="360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graphicFrame>
        <p:nvGraphicFramePr>
          <p:cNvPr id="28" name="Table 5">
            <a:extLst>
              <a:ext uri="{FF2B5EF4-FFF2-40B4-BE49-F238E27FC236}">
                <a16:creationId xmlns:a16="http://schemas.microsoft.com/office/drawing/2014/main" id="{9F5F7011-A563-9DAF-23F2-226FD15E8F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1419084"/>
              </p:ext>
            </p:extLst>
          </p:nvPr>
        </p:nvGraphicFramePr>
        <p:xfrm>
          <a:off x="470518" y="864965"/>
          <a:ext cx="10608814" cy="4990328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2941411">
                  <a:extLst>
                    <a:ext uri="{9D8B030D-6E8A-4147-A177-3AD203B41FA5}">
                      <a16:colId xmlns:a16="http://schemas.microsoft.com/office/drawing/2014/main" val="1264441803"/>
                    </a:ext>
                  </a:extLst>
                </a:gridCol>
                <a:gridCol w="1901157">
                  <a:extLst>
                    <a:ext uri="{9D8B030D-6E8A-4147-A177-3AD203B41FA5}">
                      <a16:colId xmlns:a16="http://schemas.microsoft.com/office/drawing/2014/main" val="3867941539"/>
                    </a:ext>
                  </a:extLst>
                </a:gridCol>
                <a:gridCol w="3067434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  <a:gridCol w="2698812">
                  <a:extLst>
                    <a:ext uri="{9D8B030D-6E8A-4147-A177-3AD203B41FA5}">
                      <a16:colId xmlns:a16="http://schemas.microsoft.com/office/drawing/2014/main" val="1316714249"/>
                    </a:ext>
                  </a:extLst>
                </a:gridCol>
              </a:tblGrid>
              <a:tr h="370496">
                <a:tc>
                  <a:txBody>
                    <a:bodyPr/>
                    <a:lstStyle/>
                    <a:p>
                      <a:r>
                        <a:rPr lang="en-AU" sz="1600"/>
                        <a:t>Approach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600"/>
                        <a:t>Self-Service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600"/>
                        <a:t>Batch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600"/>
                        <a:t>Interactive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288246">
                <a:tc>
                  <a:txBody>
                    <a:bodyPr/>
                    <a:lstStyle/>
                    <a:p>
                      <a:r>
                        <a:rPr lang="en-AU" sz="1400"/>
                        <a:t>Scheduled Ch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  <a:tr h="490018">
                <a:tc>
                  <a:txBody>
                    <a:bodyPr/>
                    <a:lstStyle/>
                    <a:p>
                      <a:r>
                        <a:rPr lang="en-AU" sz="1400"/>
                        <a:t>Technical Impact Assess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/>
                        <a:t>Completed by application ow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Completed by application ow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4470544"/>
                  </a:ext>
                </a:extLst>
              </a:tr>
              <a:tr h="490018">
                <a:tc>
                  <a:txBody>
                    <a:bodyPr/>
                    <a:lstStyle/>
                    <a:p>
                      <a:r>
                        <a:rPr lang="en-AU" sz="1400"/>
                        <a:t>Recommended Criticality Lev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Level 5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dirty="0"/>
                        <a:t>Level 4-5</a:t>
                      </a:r>
                    </a:p>
                    <a:p>
                      <a:endParaRPr lang="en-A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dirty="0"/>
                        <a:t>Level 1-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1657300"/>
                  </a:ext>
                </a:extLst>
              </a:tr>
              <a:tr h="1095335">
                <a:tc>
                  <a:txBody>
                    <a:bodyPr/>
                    <a:lstStyle/>
                    <a:p>
                      <a:r>
                        <a:rPr lang="en-AU" sz="1400"/>
                        <a:t>Deployment window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Flexi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App Owners to specif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A – Weekday/evening (7PM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B – Weekday/business hours (4PM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C – Weekend/Saturday A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D – Weekend/Sunday 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0702754"/>
                  </a:ext>
                </a:extLst>
              </a:tr>
              <a:tr h="312118">
                <a:tc>
                  <a:txBody>
                    <a:bodyPr/>
                    <a:lstStyle/>
                    <a:p>
                      <a:r>
                        <a:rPr lang="en-AU" sz="1400"/>
                        <a:t>Group siz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1-3 (workload basi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7173720"/>
                  </a:ext>
                </a:extLst>
              </a:tr>
              <a:tr h="490018">
                <a:tc>
                  <a:txBody>
                    <a:bodyPr/>
                    <a:lstStyle/>
                    <a:p>
                      <a:r>
                        <a:rPr lang="en-AU" sz="1400"/>
                        <a:t>Deployment Support during the ch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Deployment window not manage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Recommend Server Ow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Server Ow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8401871"/>
                  </a:ext>
                </a:extLst>
              </a:tr>
              <a:tr h="327465">
                <a:tc>
                  <a:txBody>
                    <a:bodyPr/>
                    <a:lstStyle/>
                    <a:p>
                      <a:r>
                        <a:rPr lang="en-AU" sz="1400"/>
                        <a:t>Post Deployment Test Applicat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Recommend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Requir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4751135"/>
                  </a:ext>
                </a:extLst>
              </a:tr>
              <a:tr h="490018">
                <a:tc>
                  <a:txBody>
                    <a:bodyPr/>
                    <a:lstStyle/>
                    <a:p>
                      <a:r>
                        <a:rPr lang="en-AU" sz="1400"/>
                        <a:t>Post Change Hot 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Service Desk receive a list of servers per group/ch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Service Desk receive a list of servers per group/chan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9187730"/>
                  </a:ext>
                </a:extLst>
              </a:tr>
              <a:tr h="444569">
                <a:tc>
                  <a:txBody>
                    <a:bodyPr/>
                    <a:lstStyle/>
                    <a:p>
                      <a:r>
                        <a:rPr lang="en-AU" sz="1400"/>
                        <a:t>Post Change Support and Rollb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Requi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/>
                        <a:t>Requir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34937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676903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990601"/>
          </a:xfrm>
        </p:spPr>
        <p:txBody>
          <a:bodyPr/>
          <a:lstStyle/>
          <a:p>
            <a:r>
              <a:rPr lang="en-US" sz="2800" dirty="0"/>
              <a:t>Communication - Scenarios</a:t>
            </a:r>
            <a:endParaRPr lang="en-AU" sz="3600" dirty="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0851424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2B7134-1B67-4A3C-139C-0CEE41F13129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5</a:t>
            </a:fld>
            <a:endParaRPr lang="en-CA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277EBF-2535-4910-80E8-064E3E9DE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Vulnerability A3.1 Clear Text Password (CTP) – Baselined Servers</a:t>
            </a:r>
          </a:p>
        </p:txBody>
      </p:sp>
      <p:graphicFrame>
        <p:nvGraphicFramePr>
          <p:cNvPr id="12" name="Table 5">
            <a:extLst>
              <a:ext uri="{FF2B5EF4-FFF2-40B4-BE49-F238E27FC236}">
                <a16:creationId xmlns:a16="http://schemas.microsoft.com/office/drawing/2014/main" id="{2818A85C-43EC-C651-505D-D24858297A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0290811"/>
              </p:ext>
            </p:extLst>
          </p:nvPr>
        </p:nvGraphicFramePr>
        <p:xfrm>
          <a:off x="571502" y="995956"/>
          <a:ext cx="5420361" cy="5429863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893058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  <a:gridCol w="2527303">
                  <a:extLst>
                    <a:ext uri="{9D8B030D-6E8A-4147-A177-3AD203B41FA5}">
                      <a16:colId xmlns:a16="http://schemas.microsoft.com/office/drawing/2014/main" val="42437240"/>
                    </a:ext>
                  </a:extLst>
                </a:gridCol>
              </a:tblGrid>
              <a:tr h="660207">
                <a:tc>
                  <a:txBody>
                    <a:bodyPr/>
                    <a:lstStyle/>
                    <a:p>
                      <a:r>
                        <a:rPr lang="en-AU" dirty="0"/>
                        <a:t>Operating Syst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Number of Servers detected with CT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314384">
                <a:tc>
                  <a:txBody>
                    <a:bodyPr/>
                    <a:lstStyle/>
                    <a:p>
                      <a:r>
                        <a:rPr lang="en-US" sz="1400" dirty="0"/>
                        <a:t>Windows Server 2008 R2 Enterprise</a:t>
                      </a:r>
                      <a:endParaRPr lang="en-A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  <a:tr h="5344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ndows Storage Server 2008 R2 Standard</a:t>
                      </a:r>
                      <a:endParaRPr lang="en-A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9451341"/>
                  </a:ext>
                </a:extLst>
              </a:tr>
              <a:tr h="5344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ndows Server 2008 R2 (64-bit)</a:t>
                      </a:r>
                      <a:endParaRPr lang="en-A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5229955"/>
                  </a:ext>
                </a:extLst>
              </a:tr>
              <a:tr h="3143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dirty="0"/>
                        <a:t>Windows Servers 2008 R2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>
                          <a:solidFill>
                            <a:schemeClr val="tx1"/>
                          </a:solidFill>
                        </a:rPr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8629958"/>
                  </a:ext>
                </a:extLst>
              </a:tr>
              <a:tr h="534453">
                <a:tc>
                  <a:txBody>
                    <a:bodyPr/>
                    <a:lstStyle/>
                    <a:p>
                      <a:r>
                        <a:rPr lang="en-AU" sz="1400" dirty="0"/>
                        <a:t>Windows Servers 20012 R2 Datacen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2382616"/>
                  </a:ext>
                </a:extLst>
              </a:tr>
              <a:tr h="333846">
                <a:tc>
                  <a:txBody>
                    <a:bodyPr/>
                    <a:lstStyle/>
                    <a:p>
                      <a:r>
                        <a:rPr lang="en-AU" sz="1400" dirty="0"/>
                        <a:t>Window Server 2012 R2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>
                          <a:solidFill>
                            <a:schemeClr val="tx1"/>
                          </a:solidFill>
                        </a:rPr>
                        <a:t>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7564136"/>
                  </a:ext>
                </a:extLst>
              </a:tr>
              <a:tr h="333846">
                <a:tc>
                  <a:txBody>
                    <a:bodyPr/>
                    <a:lstStyle/>
                    <a:p>
                      <a:r>
                        <a:rPr lang="pt-BR" sz="14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ndows Server 2012 R2 Datacenter</a:t>
                      </a:r>
                      <a:endParaRPr lang="en-A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5372752"/>
                  </a:ext>
                </a:extLst>
              </a:tr>
              <a:tr h="5344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dirty="0"/>
                        <a:t>Window Server 2016 Datacenter</a:t>
                      </a:r>
                    </a:p>
                    <a:p>
                      <a:endParaRPr lang="en-A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6274717"/>
                  </a:ext>
                </a:extLst>
              </a:tr>
              <a:tr h="3338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dirty="0"/>
                        <a:t>Window Server 2016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531117"/>
                  </a:ext>
                </a:extLst>
              </a:tr>
              <a:tr h="3338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dirty="0"/>
                        <a:t>Window Server 2019 Datacen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>
                          <a:solidFill>
                            <a:schemeClr val="tx1"/>
                          </a:solidFill>
                        </a:rPr>
                        <a:t>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7621195"/>
                  </a:ext>
                </a:extLst>
              </a:tr>
              <a:tr h="3338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dirty="0"/>
                        <a:t>Window Server 2019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9960207"/>
                  </a:ext>
                </a:extLst>
              </a:tr>
              <a:tr h="3338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dirty="0">
                          <a:solidFill>
                            <a:srgbClr val="FF0000"/>
                          </a:solidFill>
                        </a:rPr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>
                          <a:solidFill>
                            <a:srgbClr val="FF0000"/>
                          </a:solidFill>
                        </a:rPr>
                        <a:t>9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3894471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205200EE-8486-4C0B-98C8-7B96C2CD50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1619053"/>
              </p:ext>
            </p:extLst>
          </p:nvPr>
        </p:nvGraphicFramePr>
        <p:xfrm>
          <a:off x="7628844" y="1003082"/>
          <a:ext cx="3991654" cy="3984704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644370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  <a:gridCol w="2347284">
                  <a:extLst>
                    <a:ext uri="{9D8B030D-6E8A-4147-A177-3AD203B41FA5}">
                      <a16:colId xmlns:a16="http://schemas.microsoft.com/office/drawing/2014/main" val="860925027"/>
                    </a:ext>
                  </a:extLst>
                </a:gridCol>
              </a:tblGrid>
              <a:tr h="493891">
                <a:tc>
                  <a:txBody>
                    <a:bodyPr/>
                    <a:lstStyle/>
                    <a:p>
                      <a:r>
                        <a:rPr lang="en-AU"/>
                        <a:t>Pilot selection  criter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AU"/>
                        <a:t>Critica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dirty="0"/>
                        <a:t>Non-Critical: - Level 5-6 Non-Production Servers - </a:t>
                      </a:r>
                      <a:r>
                        <a:rPr lang="en-AU" b="1" dirty="0"/>
                        <a:t>6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AU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dirty="0"/>
                        <a:t>Critical: Level 3-4 Non-Production Servers - </a:t>
                      </a:r>
                      <a:r>
                        <a:rPr lang="en-AU" b="1" dirty="0"/>
                        <a:t>3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  <a:tr h="803632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AU"/>
                        <a:t>Reg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AU" dirty="0"/>
                        <a:t>APAC, APAC-E and APAC-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424525"/>
                  </a:ext>
                </a:extLst>
              </a:tr>
              <a:tr h="803632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AU"/>
                        <a:t>PC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AU" dirty="0"/>
                        <a:t>PCN servers are exclud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5346380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702D4382-8966-C9A0-BB96-326463A9B9DF}"/>
              </a:ext>
            </a:extLst>
          </p:cNvPr>
          <p:cNvSpPr txBox="1"/>
          <p:nvPr/>
        </p:nvSpPr>
        <p:spPr>
          <a:xfrm>
            <a:off x="6675119" y="5208587"/>
            <a:ext cx="501713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dirty="0"/>
              <a:t>Based on selection criteria 50 Non-Critical + 20 Critical Pilot servers need approval by RT (see attachments).</a:t>
            </a:r>
          </a:p>
        </p:txBody>
      </p:sp>
    </p:spTree>
    <p:extLst>
      <p:ext uri="{BB962C8B-B14F-4D97-AF65-F5344CB8AC3E}">
        <p14:creationId xmlns:p14="http://schemas.microsoft.com/office/powerpoint/2010/main" val="24932938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990601"/>
          </a:xfrm>
        </p:spPr>
        <p:txBody>
          <a:bodyPr/>
          <a:lstStyle/>
          <a:p>
            <a:r>
              <a:rPr lang="en-US" sz="2800" dirty="0"/>
              <a:t>RACI Matrix</a:t>
            </a:r>
            <a:endParaRPr lang="en-AU" sz="3600" dirty="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CE35D40-F363-C027-95FC-A662B505B5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6433606"/>
              </p:ext>
            </p:extLst>
          </p:nvPr>
        </p:nvGraphicFramePr>
        <p:xfrm>
          <a:off x="381000" y="1219200"/>
          <a:ext cx="9806688" cy="309372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4640533">
                  <a:extLst>
                    <a:ext uri="{9D8B030D-6E8A-4147-A177-3AD203B41FA5}">
                      <a16:colId xmlns:a16="http://schemas.microsoft.com/office/drawing/2014/main" val="2027331975"/>
                    </a:ext>
                  </a:extLst>
                </a:gridCol>
                <a:gridCol w="1034715">
                  <a:extLst>
                    <a:ext uri="{9D8B030D-6E8A-4147-A177-3AD203B41FA5}">
                      <a16:colId xmlns:a16="http://schemas.microsoft.com/office/drawing/2014/main" val="321470422"/>
                    </a:ext>
                  </a:extLst>
                </a:gridCol>
                <a:gridCol w="1315452">
                  <a:extLst>
                    <a:ext uri="{9D8B030D-6E8A-4147-A177-3AD203B41FA5}">
                      <a16:colId xmlns:a16="http://schemas.microsoft.com/office/drawing/2014/main" val="2448354610"/>
                    </a:ext>
                  </a:extLst>
                </a:gridCol>
                <a:gridCol w="1264300">
                  <a:extLst>
                    <a:ext uri="{9D8B030D-6E8A-4147-A177-3AD203B41FA5}">
                      <a16:colId xmlns:a16="http://schemas.microsoft.com/office/drawing/2014/main" val="3843269410"/>
                    </a:ext>
                  </a:extLst>
                </a:gridCol>
                <a:gridCol w="1551688">
                  <a:extLst>
                    <a:ext uri="{9D8B030D-6E8A-4147-A177-3AD203B41FA5}">
                      <a16:colId xmlns:a16="http://schemas.microsoft.com/office/drawing/2014/main" val="3997362660"/>
                    </a:ext>
                  </a:extLst>
                </a:gridCol>
              </a:tblGrid>
              <a:tr h="7082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Activity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Avanade team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Application owner</a:t>
                      </a:r>
                      <a:endParaRPr lang="en-AU" sz="1800" kern="120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Server owner/</a:t>
                      </a:r>
                      <a:r>
                        <a:rPr lang="en-AU" sz="1800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team</a:t>
                      </a:r>
                      <a:endParaRPr lang="en-AU" sz="1800" kern="120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Rio Tinto Security  team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584758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rtl="0" eaLnBrk="1" fontAlgn="b" latinLnBrk="0" hangingPunct="1"/>
                      <a:r>
                        <a:rPr lang="en-US" sz="1800" kern="1200">
                          <a:solidFill>
                            <a:schemeClr val="tx1"/>
                          </a:solidFill>
                        </a:rPr>
                        <a:t>Inform Application/Server Owners about vulnerability present</a:t>
                      </a:r>
                      <a:endParaRPr lang="en-US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R, A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I</a:t>
                      </a:r>
                      <a:endParaRPr lang="en-AU" sz="1800" kern="120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1332208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kern="1200">
                          <a:solidFill>
                            <a:schemeClr val="tx1"/>
                          </a:solidFill>
                        </a:rPr>
                        <a:t>Conduct Technical and Impact assessment</a:t>
                      </a:r>
                      <a:endParaRPr lang="en-US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A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R</a:t>
                      </a:r>
                      <a:endParaRPr lang="en-AU" sz="1800" kern="120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R</a:t>
                      </a:r>
                      <a:endParaRPr lang="en-A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350172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nitiate Change Request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,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R</a:t>
                      </a:r>
                      <a:endParaRPr lang="en-AU" sz="1800" kern="120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C,R</a:t>
                      </a:r>
                      <a:endParaRPr lang="en-A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8807259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kern="1200">
                          <a:solidFill>
                            <a:schemeClr val="tx1"/>
                          </a:solidFill>
                        </a:rPr>
                        <a:t>Run remediation on the server</a:t>
                      </a:r>
                      <a:endParaRPr lang="en-US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R</a:t>
                      </a:r>
                      <a:endParaRPr lang="en-A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I,</a:t>
                      </a:r>
                      <a:r>
                        <a:rPr lang="en-AU" sz="1800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R</a:t>
                      </a:r>
                      <a:endParaRPr lang="en-AU" sz="1800" kern="120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2348725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Perform System integration testing (SIT) 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R</a:t>
                      </a:r>
                      <a:endParaRPr lang="en-A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7166439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kern="1200">
                          <a:solidFill>
                            <a:schemeClr val="tx1"/>
                          </a:solidFill>
                        </a:rPr>
                        <a:t>Perform rollback if SIT failed</a:t>
                      </a:r>
                      <a:endParaRPr lang="en-US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C,R</a:t>
                      </a:r>
                      <a:endParaRPr lang="en-A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I</a:t>
                      </a:r>
                      <a:endParaRPr lang="en-AU" sz="1800" kern="120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I,R</a:t>
                      </a:r>
                      <a:endParaRPr lang="en-A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9954233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kern="1200">
                          <a:solidFill>
                            <a:schemeClr val="tx1"/>
                          </a:solidFill>
                        </a:rPr>
                        <a:t>Mark server as remediated for this vulnerability if SIT is successful </a:t>
                      </a:r>
                      <a:endParaRPr lang="en-US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R, A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53139212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211C0053-5893-848E-BDCC-DE23E10FE5D1}"/>
              </a:ext>
            </a:extLst>
          </p:cNvPr>
          <p:cNvSpPr txBox="1"/>
          <p:nvPr/>
        </p:nvSpPr>
        <p:spPr>
          <a:xfrm>
            <a:off x="568960" y="4572000"/>
            <a:ext cx="6573520" cy="15951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/>
            <a:r>
              <a:rPr lang="en-AU" b="0" i="0" dirty="0">
                <a:effectLst/>
                <a:latin typeface="arial" panose="020B0604020202020204" pitchFamily="34" charset="0"/>
              </a:rPr>
              <a:t>R- Responsible </a:t>
            </a:r>
          </a:p>
          <a:p>
            <a:pPr algn="l" defTabSz="228600"/>
            <a:r>
              <a:rPr lang="en-AU" b="0" i="0" dirty="0">
                <a:effectLst/>
                <a:latin typeface="arial" panose="020B0604020202020204" pitchFamily="34" charset="0"/>
              </a:rPr>
              <a:t>A - Accountable</a:t>
            </a:r>
          </a:p>
          <a:p>
            <a:pPr algn="l" defTabSz="228600"/>
            <a:r>
              <a:rPr lang="en-AU" b="0" i="0" dirty="0">
                <a:effectLst/>
                <a:latin typeface="arial" panose="020B0604020202020204" pitchFamily="34" charset="0"/>
              </a:rPr>
              <a:t>C - Consulted </a:t>
            </a:r>
          </a:p>
          <a:p>
            <a:pPr algn="l" defTabSz="228600"/>
            <a:r>
              <a:rPr lang="en-AU" b="0" i="0" dirty="0">
                <a:effectLst/>
                <a:latin typeface="arial" panose="020B0604020202020204" pitchFamily="34" charset="0"/>
              </a:rPr>
              <a:t>I - Informed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54054627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990601"/>
          </a:xfrm>
        </p:spPr>
        <p:txBody>
          <a:bodyPr/>
          <a:lstStyle/>
          <a:p>
            <a:r>
              <a:rPr lang="en-US" sz="2800"/>
              <a:t>Tracker (sample data)</a:t>
            </a:r>
            <a:endParaRPr lang="en-AU" sz="360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graphicFrame>
        <p:nvGraphicFramePr>
          <p:cNvPr id="28" name="Table 5">
            <a:extLst>
              <a:ext uri="{FF2B5EF4-FFF2-40B4-BE49-F238E27FC236}">
                <a16:creationId xmlns:a16="http://schemas.microsoft.com/office/drawing/2014/main" id="{9F5F7011-A563-9DAF-23F2-226FD15E8F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1165517"/>
              </p:ext>
            </p:extLst>
          </p:nvPr>
        </p:nvGraphicFramePr>
        <p:xfrm>
          <a:off x="1157176" y="1376314"/>
          <a:ext cx="8087489" cy="28349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124630">
                  <a:extLst>
                    <a:ext uri="{9D8B030D-6E8A-4147-A177-3AD203B41FA5}">
                      <a16:colId xmlns:a16="http://schemas.microsoft.com/office/drawing/2014/main" val="1264441803"/>
                    </a:ext>
                  </a:extLst>
                </a:gridCol>
                <a:gridCol w="1652631">
                  <a:extLst>
                    <a:ext uri="{9D8B030D-6E8A-4147-A177-3AD203B41FA5}">
                      <a16:colId xmlns:a16="http://schemas.microsoft.com/office/drawing/2014/main" val="189620947"/>
                    </a:ext>
                  </a:extLst>
                </a:gridCol>
                <a:gridCol w="1711354">
                  <a:extLst>
                    <a:ext uri="{9D8B030D-6E8A-4147-A177-3AD203B41FA5}">
                      <a16:colId xmlns:a16="http://schemas.microsoft.com/office/drawing/2014/main" val="3951712096"/>
                    </a:ext>
                  </a:extLst>
                </a:gridCol>
                <a:gridCol w="2265027">
                  <a:extLst>
                    <a:ext uri="{9D8B030D-6E8A-4147-A177-3AD203B41FA5}">
                      <a16:colId xmlns:a16="http://schemas.microsoft.com/office/drawing/2014/main" val="3867941539"/>
                    </a:ext>
                  </a:extLst>
                </a:gridCol>
                <a:gridCol w="1333847">
                  <a:extLst>
                    <a:ext uri="{9D8B030D-6E8A-4147-A177-3AD203B41FA5}">
                      <a16:colId xmlns:a16="http://schemas.microsoft.com/office/drawing/2014/main" val="420778884"/>
                    </a:ext>
                  </a:extLst>
                </a:gridCol>
              </a:tblGrid>
              <a:tr h="661820">
                <a:tc>
                  <a:txBody>
                    <a:bodyPr/>
                    <a:lstStyle/>
                    <a:p>
                      <a:r>
                        <a:rPr lang="en-AU" sz="2000"/>
                        <a:t>Change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2000"/>
                        <a:t>Ope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2000"/>
                        <a:t>Approv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2000"/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2000"/>
                        <a:t>Serv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561692">
                <a:tc>
                  <a:txBody>
                    <a:bodyPr/>
                    <a:lstStyle/>
                    <a:p>
                      <a:r>
                        <a:rPr lang="en-AU"/>
                        <a:t>CRXXXX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4-Aug-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Vulnerability Fix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  <a:tr h="503589">
                <a:tc>
                  <a:txBody>
                    <a:bodyPr/>
                    <a:lstStyle/>
                    <a:p>
                      <a:r>
                        <a:rPr lang="en-AU"/>
                        <a:t>Xxxx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Vulnerability Fix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4470544"/>
                  </a:ext>
                </a:extLst>
              </a:tr>
              <a:tr h="503589">
                <a:tc>
                  <a:txBody>
                    <a:bodyPr/>
                    <a:lstStyle/>
                    <a:p>
                      <a:r>
                        <a:rPr lang="en-AU"/>
                        <a:t>Xxxx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Schedul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1657300"/>
                  </a:ext>
                </a:extLst>
              </a:tr>
              <a:tr h="604270">
                <a:tc>
                  <a:txBody>
                    <a:bodyPr/>
                    <a:lstStyle/>
                    <a:p>
                      <a:r>
                        <a:rPr lang="en-AU"/>
                        <a:t>Xxxx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Waiting for Approv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0702754"/>
                  </a:ext>
                </a:extLst>
              </a:tr>
            </a:tbl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62258C8-6C3A-53EB-9186-4F2441367F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9485768"/>
              </p:ext>
            </p:extLst>
          </p:nvPr>
        </p:nvGraphicFramePr>
        <p:xfrm>
          <a:off x="3733102" y="4750167"/>
          <a:ext cx="3459549" cy="109728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401490">
                  <a:extLst>
                    <a:ext uri="{9D8B030D-6E8A-4147-A177-3AD203B41FA5}">
                      <a16:colId xmlns:a16="http://schemas.microsoft.com/office/drawing/2014/main" val="860285425"/>
                    </a:ext>
                  </a:extLst>
                </a:gridCol>
                <a:gridCol w="1058059">
                  <a:extLst>
                    <a:ext uri="{9D8B030D-6E8A-4147-A177-3AD203B41FA5}">
                      <a16:colId xmlns:a16="http://schemas.microsoft.com/office/drawing/2014/main" val="3437243603"/>
                    </a:ext>
                  </a:extLst>
                </a:gridCol>
              </a:tblGrid>
              <a:tr h="334894">
                <a:tc>
                  <a:txBody>
                    <a:bodyPr/>
                    <a:lstStyle/>
                    <a:p>
                      <a:pPr algn="r"/>
                      <a:r>
                        <a:rPr lang="en-AU" b="1"/>
                        <a:t>Vulnerability Fix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b="1"/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4766354"/>
                  </a:ext>
                </a:extLst>
              </a:tr>
              <a:tr h="334894">
                <a:tc>
                  <a:txBody>
                    <a:bodyPr/>
                    <a:lstStyle/>
                    <a:p>
                      <a:pPr algn="r"/>
                      <a:r>
                        <a:rPr lang="en-AU" b="1"/>
                        <a:t>Schedul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b="1"/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8673929"/>
                  </a:ext>
                </a:extLst>
              </a:tr>
              <a:tr h="334894">
                <a:tc>
                  <a:txBody>
                    <a:bodyPr/>
                    <a:lstStyle/>
                    <a:p>
                      <a:pPr algn="r"/>
                      <a:r>
                        <a:rPr lang="en-AU" b="1"/>
                        <a:t>Waiting for Approv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b="1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1716553"/>
                  </a:ext>
                </a:extLst>
              </a:tr>
            </a:tbl>
          </a:graphicData>
        </a:graphic>
      </p:graphicFrame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FB0E6601-D796-4960-1750-63D184C62F26}"/>
              </a:ext>
            </a:extLst>
          </p:cNvPr>
          <p:cNvSpPr/>
          <p:nvPr/>
        </p:nvSpPr>
        <p:spPr>
          <a:xfrm>
            <a:off x="9756559" y="781235"/>
            <a:ext cx="2237173" cy="121624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r"/>
            <a:r>
              <a:rPr lang="en-AU" sz="1200"/>
              <a:t>Total = xx </a:t>
            </a:r>
          </a:p>
          <a:p>
            <a:pPr algn="r"/>
            <a:r>
              <a:rPr lang="en-AU" sz="1200"/>
              <a:t>Enterprise Rollout= xx</a:t>
            </a:r>
          </a:p>
          <a:p>
            <a:pPr algn="r"/>
            <a:r>
              <a:rPr lang="en-AU" sz="1200"/>
              <a:t>Pilot  Size= 50</a:t>
            </a:r>
          </a:p>
        </p:txBody>
      </p:sp>
    </p:spTree>
    <p:extLst>
      <p:ext uri="{BB962C8B-B14F-4D97-AF65-F5344CB8AC3E}">
        <p14:creationId xmlns:p14="http://schemas.microsoft.com/office/powerpoint/2010/main" val="392046689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599165"/>
          </a:xfrm>
        </p:spPr>
        <p:txBody>
          <a:bodyPr/>
          <a:lstStyle/>
          <a:p>
            <a:r>
              <a:rPr lang="en-US" sz="2800" dirty="0"/>
              <a:t>50 Non-Critical and 20 Critical Pilot Servers List</a:t>
            </a:r>
            <a:endParaRPr lang="en-AU" sz="3600" dirty="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2BAC5BAF-2125-6736-7380-9E2B30281796}"/>
              </a:ext>
            </a:extLst>
          </p:cNvPr>
          <p:cNvSpPr txBox="1"/>
          <p:nvPr/>
        </p:nvSpPr>
        <p:spPr>
          <a:xfrm>
            <a:off x="428134" y="5836102"/>
            <a:ext cx="8654905" cy="599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AU" noProof="0" dirty="0"/>
              <a:t>For detailed list of server the master excel spreadsheet can be accessed from </a:t>
            </a:r>
            <a:r>
              <a:rPr lang="en-AU" noProof="0" dirty="0">
                <a:hlinkClick r:id="rId6"/>
              </a:rPr>
              <a:t>SharePoint</a:t>
            </a:r>
            <a:r>
              <a:rPr lang="en-AU" noProof="0" dirty="0"/>
              <a:t>.</a:t>
            </a:r>
          </a:p>
        </p:txBody>
      </p:sp>
      <p:pic>
        <p:nvPicPr>
          <p:cNvPr id="68610" name="Picture 2">
            <a:extLst>
              <a:ext uri="{FF2B5EF4-FFF2-40B4-BE49-F238E27FC236}">
                <a16:creationId xmlns:a16="http://schemas.microsoft.com/office/drawing/2014/main" id="{0FD30F27-49F2-9473-97C5-713CD08FFE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1264" y="968829"/>
            <a:ext cx="6581775" cy="4705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150022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990601"/>
          </a:xfrm>
        </p:spPr>
        <p:txBody>
          <a:bodyPr/>
          <a:lstStyle/>
          <a:p>
            <a:r>
              <a:rPr lang="en-US" sz="2800" dirty="0">
                <a:highlight>
                  <a:srgbClr val="FFFF00"/>
                </a:highlight>
              </a:rPr>
              <a:t>50 Pilot Servers List</a:t>
            </a:r>
            <a:endParaRPr lang="en-AU" sz="3600" dirty="0">
              <a:highlight>
                <a:srgbClr val="FFFF00"/>
              </a:highlight>
            </a:endParaRPr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99B1502B-E235-F603-80EC-7E835C610A8A}"/>
              </a:ext>
            </a:extLst>
          </p:cNvPr>
          <p:cNvGraphicFramePr>
            <a:graphicFrameLocks noGrp="1"/>
          </p:cNvGraphicFramePr>
          <p:nvPr/>
        </p:nvGraphicFramePr>
        <p:xfrm>
          <a:off x="821789" y="864964"/>
          <a:ext cx="9448800" cy="25168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9027">
                  <a:extLst>
                    <a:ext uri="{9D8B030D-6E8A-4147-A177-3AD203B41FA5}">
                      <a16:colId xmlns:a16="http://schemas.microsoft.com/office/drawing/2014/main" val="1452846002"/>
                    </a:ext>
                  </a:extLst>
                </a:gridCol>
                <a:gridCol w="1230246">
                  <a:extLst>
                    <a:ext uri="{9D8B030D-6E8A-4147-A177-3AD203B41FA5}">
                      <a16:colId xmlns:a16="http://schemas.microsoft.com/office/drawing/2014/main" val="4027856554"/>
                    </a:ext>
                  </a:extLst>
                </a:gridCol>
                <a:gridCol w="1014636">
                  <a:extLst>
                    <a:ext uri="{9D8B030D-6E8A-4147-A177-3AD203B41FA5}">
                      <a16:colId xmlns:a16="http://schemas.microsoft.com/office/drawing/2014/main" val="1877866984"/>
                    </a:ext>
                  </a:extLst>
                </a:gridCol>
                <a:gridCol w="1204881">
                  <a:extLst>
                    <a:ext uri="{9D8B030D-6E8A-4147-A177-3AD203B41FA5}">
                      <a16:colId xmlns:a16="http://schemas.microsoft.com/office/drawing/2014/main" val="528122720"/>
                    </a:ext>
                  </a:extLst>
                </a:gridCol>
                <a:gridCol w="1585369">
                  <a:extLst>
                    <a:ext uri="{9D8B030D-6E8A-4147-A177-3AD203B41FA5}">
                      <a16:colId xmlns:a16="http://schemas.microsoft.com/office/drawing/2014/main" val="94284716"/>
                    </a:ext>
                  </a:extLst>
                </a:gridCol>
                <a:gridCol w="2156102">
                  <a:extLst>
                    <a:ext uri="{9D8B030D-6E8A-4147-A177-3AD203B41FA5}">
                      <a16:colId xmlns:a16="http://schemas.microsoft.com/office/drawing/2014/main" val="2761434446"/>
                    </a:ext>
                  </a:extLst>
                </a:gridCol>
                <a:gridCol w="938539">
                  <a:extLst>
                    <a:ext uri="{9D8B030D-6E8A-4147-A177-3AD203B41FA5}">
                      <a16:colId xmlns:a16="http://schemas.microsoft.com/office/drawing/2014/main" val="962011051"/>
                    </a:ext>
                  </a:extLst>
                </a:gridCol>
              </a:tblGrid>
              <a:tr h="8001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Server</a:t>
                      </a:r>
                      <a:endParaRPr lang="en-US" sz="1100" b="1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Server Region</a:t>
                      </a:r>
                      <a:endParaRPr lang="en-US" sz="1100" b="1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Server Status</a:t>
                      </a:r>
                      <a:endParaRPr lang="en-US" sz="1100" b="1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Server Criticality</a:t>
                      </a:r>
                      <a:endParaRPr lang="en-US" sz="1100" b="1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plication Owner</a:t>
                      </a:r>
                      <a:endParaRPr lang="en-US" sz="1100" b="1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Server owner</a:t>
                      </a:r>
                      <a:endParaRPr lang="en-US" sz="1100" b="1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ilot</a:t>
                      </a:r>
                      <a:endParaRPr lang="en-US" sz="1100" b="1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901558701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ADMAP18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etch, James (AD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ynes, Ryan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2792242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BELWEB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5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o, David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3977210960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BNEAPD28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velop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rl Henders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ommeti, Tarun (IST-ACCENTURE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621009839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BNEEXMB10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QA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rl Henders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Jothiramalingam, Rajasekar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601202661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BNEPRTD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velop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rl Hendersen, Troy Tuck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ommeti, Tarun (IST-ACCENTURE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75702637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DPRBSXMIIP0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QA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3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rsten Vie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utson, Aaron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410178707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MELSQL3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Nathan Eat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Goswami, Chayan (IST-ACCENTURE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3551964889"/>
                  </a:ext>
                </a:extLst>
              </a:tr>
              <a:tr h="733425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MELWEBD5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velop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Shaun Davi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ommeti, Tarun (IST-ACCENTURE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286587366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NMMBU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3626341459"/>
                  </a:ext>
                </a:extLst>
              </a:tr>
              <a:tr h="1143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AP20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ploy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411871828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AP225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ploy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Maden Radhakrishnan,</a:t>
                      </a:r>
                      <a:br>
                        <a:rPr lang="en-US" sz="1100">
                          <a:effectLst/>
                        </a:rPr>
                      </a:br>
                      <a:r>
                        <a:rPr lang="en-US" sz="1100">
                          <a:effectLst/>
                        </a:rPr>
                        <a:t>Rajasekar Jothiramalingam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3165964175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AP22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ploy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Maden Radhakrishnan,</a:t>
                      </a:r>
                      <a:br>
                        <a:rPr lang="en-US" sz="1100">
                          <a:effectLst/>
                        </a:rPr>
                      </a:br>
                      <a:r>
                        <a:rPr lang="en-US" sz="1100">
                          <a:effectLst/>
                        </a:rPr>
                        <a:t>Rajasekar Jothiramalingam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725623078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AP262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ploy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3384255589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AP263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ploy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529920789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AP26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ploy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646628982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AP265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ploy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009110314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AP307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ploy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771336855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exmb10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enderson, Carl 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Jothiramalingam, Rajasekar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459912628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ORAD9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es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Ian Taylo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3283433152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ORAQC1N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QA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Ian Taylor / Shaw, Jono (IST) 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421974715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ORAQC1N2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QA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Ian Taylor,</a:t>
                      </a:r>
                      <a:br>
                        <a:rPr lang="en-US" sz="1100">
                          <a:effectLst/>
                        </a:rPr>
                      </a:br>
                      <a:r>
                        <a:rPr lang="en-US" sz="1100">
                          <a:effectLst/>
                        </a:rPr>
                        <a:t>Shaw Jono 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509711543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RPT3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ustodian: Lindebringhs, Neil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876681506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SQLD29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velop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Ian Taylo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3602112654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PERWEBD1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es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Raelene Scanlon 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856330864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SYDIIS3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Bombek, Emil 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ommeti, Tarun (IST-ACCENTURE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370821265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WANBU2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534449784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YARAP12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velop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3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eter Vergado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690262641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YARAP13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velop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eter Vergado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4121908590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YARAP1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velop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eter Vergado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540359780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YARAP7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5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Brad Dore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404376946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YARDCTM1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es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Brad Dore</a:t>
                      </a:r>
                      <a:br>
                        <a:rPr lang="en-US" sz="1100">
                          <a:effectLst/>
                        </a:rPr>
                      </a:br>
                      <a:r>
                        <a:rPr lang="en-US" sz="1100">
                          <a:effectLst/>
                        </a:rPr>
                        <a:t>David Pott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017122415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YARDCTM12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es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Brad Dore</a:t>
                      </a:r>
                      <a:br>
                        <a:rPr lang="en-US" sz="1100">
                          <a:effectLst/>
                        </a:rPr>
                      </a:br>
                      <a:r>
                        <a:rPr lang="en-US" sz="1100">
                          <a:effectLst/>
                        </a:rPr>
                        <a:t>David Pott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69859480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UYARDCTM13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es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Brad Dore</a:t>
                      </a:r>
                      <a:br>
                        <a:rPr lang="en-US" sz="1100">
                          <a:effectLst/>
                        </a:rPr>
                      </a:br>
                      <a:r>
                        <a:rPr lang="en-US" sz="1100">
                          <a:effectLst/>
                        </a:rPr>
                        <a:t>David Pott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78358847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BEANRAP7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urgeon, Stephan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971224962"/>
                  </a:ext>
                </a:extLst>
              </a:tr>
              <a:tr h="1333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ALMMSLUAT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es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urgeon, Stephan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538228512"/>
                  </a:ext>
                </a:extLst>
              </a:tr>
              <a:tr h="1333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LATMSLUAT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es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urgeon, Stephan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327530407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MTLMSPCSQL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Staging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Nunes, Pablo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376347082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MTLMSPCWEB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Staging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Nunes, Pablo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45541721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SAGAPCCURED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velop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3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Josee Cordi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Nunes, Pablo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85205202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SAGMSPAP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Goswami, Chayan (IST-ACCENTURE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66330744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SAGMSPAP2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Goswami, Chayan (IST-ACCENTURE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54463528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SAGMSPWEB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Goswami, Chayan (IST-ACCENTURE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15197205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SAGPKTK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Nunes, Pablo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993652762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CAYZVPRMAPDEV0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evelopmen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odd Stubber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tch, Tanya (IOC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3374150607"/>
                  </a:ext>
                </a:extLst>
              </a:tr>
              <a:tr h="952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AGOVAC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5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Jamie Ross,</a:t>
                      </a:r>
                      <a:br>
                        <a:rPr lang="en-US" sz="1100">
                          <a:effectLst/>
                        </a:rPr>
                      </a:br>
                      <a:r>
                        <a:rPr lang="en-US" sz="1100">
                          <a:effectLst/>
                        </a:rPr>
                        <a:t>Derek Moore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4284214535"/>
                  </a:ext>
                </a:extLst>
              </a:tr>
              <a:tr h="952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AGOVAP10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PAC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5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Jamie Ross,</a:t>
                      </a:r>
                      <a:br>
                        <a:rPr lang="en-US" sz="1100">
                          <a:effectLst/>
                        </a:rPr>
                      </a:br>
                      <a:r>
                        <a:rPr lang="en-US" sz="1100">
                          <a:effectLst/>
                        </a:rPr>
                        <a:t>Derek Moore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mel, Frederick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65760036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USBORSQLR1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RP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Sandra Kr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ndersen, Sean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43580472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USDENSQLQ11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QA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Kramer, Sandra (IST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3623816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USSLCAPT59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Test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Hans Gao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Dommeti, Tarun (IST-ACCENTURE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51334179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USSLCIIS18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AMER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Exception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>
                          <a:effectLst/>
                        </a:rPr>
                        <a:t>Goswami, Chayan (IST-ACCENTURE)</a:t>
                      </a: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sz="1100" dirty="0">
                          <a:effectLst/>
                        </a:rPr>
                        <a:t>Y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088170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470235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frizKYGKcpgVVI28ve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Unrestricted">
  <a:themeElements>
    <a:clrScheme name="Avanade FY17">
      <a:dk1>
        <a:srgbClr val="595959"/>
      </a:dk1>
      <a:lt1>
        <a:sysClr val="window" lastClr="FFFFFF"/>
      </a:lt1>
      <a:dk2>
        <a:srgbClr val="FF5800"/>
      </a:dk2>
      <a:lt2>
        <a:srgbClr val="E7E6E6"/>
      </a:lt2>
      <a:accent1>
        <a:srgbClr val="FF5800"/>
      </a:accent1>
      <a:accent2>
        <a:srgbClr val="CE056A"/>
      </a:accent2>
      <a:accent3>
        <a:srgbClr val="C80000"/>
      </a:accent3>
      <a:accent4>
        <a:srgbClr val="FFB414"/>
      </a:accent4>
      <a:accent5>
        <a:srgbClr val="47800A"/>
      </a:accent5>
      <a:accent6>
        <a:srgbClr val="008376"/>
      </a:accent6>
      <a:hlink>
        <a:srgbClr val="FF5800"/>
      </a:hlink>
      <a:folHlink>
        <a:srgbClr val="890078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hoto Cover PPT Template_2019" id="{F40E4053-D93C-8B4C-ABB0-355E77D9BF60}" vid="{7BE3C35A-BAB7-344E-84DB-4161C59859C6}"/>
    </a:ext>
  </a:extLst>
</a:theme>
</file>

<file path=ppt/theme/theme2.xml><?xml version="1.0" encoding="utf-8"?>
<a:theme xmlns:a="http://schemas.openxmlformats.org/drawingml/2006/main" name="1_Office Theme">
  <a:themeElements>
    <a:clrScheme name="CBA+Accenture purple">
      <a:dk1>
        <a:srgbClr val="000000"/>
      </a:dk1>
      <a:lt1>
        <a:srgbClr val="FFFFFF"/>
      </a:lt1>
      <a:dk2>
        <a:srgbClr val="595959"/>
      </a:dk2>
      <a:lt2>
        <a:srgbClr val="BEBEBE"/>
      </a:lt2>
      <a:accent1>
        <a:srgbClr val="FF9500"/>
      </a:accent1>
      <a:accent2>
        <a:srgbClr val="FFC100"/>
      </a:accent2>
      <a:accent3>
        <a:srgbClr val="FFD93A"/>
      </a:accent3>
      <a:accent4>
        <a:srgbClr val="A100FF"/>
      </a:accent4>
      <a:accent5>
        <a:srgbClr val="7500C0"/>
      </a:accent5>
      <a:accent6>
        <a:srgbClr val="460073"/>
      </a:accent6>
      <a:hlink>
        <a:srgbClr val="FFB600"/>
      </a:hlink>
      <a:folHlink>
        <a:srgbClr val="FFB600"/>
      </a:folHlink>
    </a:clrScheme>
    <a:fontScheme name="Accenture Graphik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4.xml><?xml version="1.0" encoding="utf-8"?>
<a:theme xmlns:a="http://schemas.openxmlformats.org/drawingml/2006/main" name="43_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5.xml><?xml version="1.0" encoding="utf-8"?>
<a:theme xmlns:a="http://schemas.openxmlformats.org/drawingml/2006/main" name="42_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1E2B39043C7E40952DF1086CF29555" ma:contentTypeVersion="2" ma:contentTypeDescription="Create a new document." ma:contentTypeScope="" ma:versionID="91638fd2cef831b1a2274e6e0264d240">
  <xsd:schema xmlns:xsd="http://www.w3.org/2001/XMLSchema" xmlns:xs="http://www.w3.org/2001/XMLSchema" xmlns:p="http://schemas.microsoft.com/office/2006/metadata/properties" xmlns:ns2="a0a1764d-9f19-445a-8b95-79336f5e3332" targetNamespace="http://schemas.microsoft.com/office/2006/metadata/properties" ma:root="true" ma:fieldsID="bdd2b82fdbb59bc8cc1edb58933ecc59" ns2:_="">
    <xsd:import namespace="a0a1764d-9f19-445a-8b95-79336f5e33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a1764d-9f19-445a-8b95-79336f5e33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EFB9FAD-29D2-4ABD-B451-7F7D700C8D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928E0FA-7562-4859-A11C-420ACA25A119}">
  <ds:schemaRefs>
    <ds:schemaRef ds:uri="a0a1764d-9f19-445a-8b95-79336f5e333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C7A66EC-61B8-48EB-9312-43547FE385F8}">
  <ds:schemaRefs>
    <ds:schemaRef ds:uri="a0a1764d-9f19-445a-8b95-79336f5e333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5fae8262-b78e-4366-8929-a5d6aac95320}" enabled="1" method="Standard" siteId="{cf36141c-ddd7-45a7-b073-111f66d0b30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51</TotalTime>
  <Words>1553</Words>
  <Application>Microsoft Office PowerPoint</Application>
  <PresentationFormat>Widescreen</PresentationFormat>
  <Paragraphs>568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30" baseType="lpstr">
      <vt:lpstr>-apple-system</vt:lpstr>
      <vt:lpstr>Arial</vt:lpstr>
      <vt:lpstr>Arial</vt:lpstr>
      <vt:lpstr>Calibri</vt:lpstr>
      <vt:lpstr>Graphik</vt:lpstr>
      <vt:lpstr>Graphik Black</vt:lpstr>
      <vt:lpstr>Graphik Light</vt:lpstr>
      <vt:lpstr>Graphik Semibold</vt:lpstr>
      <vt:lpstr>Graphik-SemiboldItalic</vt:lpstr>
      <vt:lpstr>GT Sectra Fine Rg</vt:lpstr>
      <vt:lpstr>Segoe UI</vt:lpstr>
      <vt:lpstr>Segoe UI Light</vt:lpstr>
      <vt:lpstr>Segoe UI Semibold</vt:lpstr>
      <vt:lpstr>Segoe UI Semilight</vt:lpstr>
      <vt:lpstr>System Font</vt:lpstr>
      <vt:lpstr>1_Unrestricted</vt:lpstr>
      <vt:lpstr>1_Office Theme</vt:lpstr>
      <vt:lpstr>Hybrid Windows</vt:lpstr>
      <vt:lpstr>43_Hybrid Windows</vt:lpstr>
      <vt:lpstr>42_Hybrid Windows</vt:lpstr>
      <vt:lpstr>think-cell Slide</vt:lpstr>
      <vt:lpstr>PowerPoint Presentation</vt:lpstr>
      <vt:lpstr>Vulnerability A3.1 Clear Text Password (CTP) - Overview</vt:lpstr>
      <vt:lpstr>Remediation approach</vt:lpstr>
      <vt:lpstr>Communication - Scenarios</vt:lpstr>
      <vt:lpstr>Vulnerability A3.1 Clear Text Password (CTP) – Baselined Servers</vt:lpstr>
      <vt:lpstr>RACI Matrix</vt:lpstr>
      <vt:lpstr>Tracker (sample data)</vt:lpstr>
      <vt:lpstr>50 Non-Critical and 20 Critical Pilot Servers List</vt:lpstr>
      <vt:lpstr>50 Pilot Servers Lis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Account Name, Sales Target $, Rev Growth %]</dc:title>
  <dc:subject/>
  <dc:creator>Lawrence Liang</dc:creator>
  <cp:keywords/>
  <dc:description/>
  <cp:lastModifiedBy>Achroo Batta</cp:lastModifiedBy>
  <cp:revision>9</cp:revision>
  <cp:lastPrinted>2021-07-26T23:22:19Z</cp:lastPrinted>
  <dcterms:created xsi:type="dcterms:W3CDTF">2020-06-29T05:59:53Z</dcterms:created>
  <dcterms:modified xsi:type="dcterms:W3CDTF">2022-08-10T13:36:3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fae8262-b78e-4366-8929-a5d6aac95320_Enabled">
    <vt:lpwstr>true</vt:lpwstr>
  </property>
  <property fmtid="{D5CDD505-2E9C-101B-9397-08002B2CF9AE}" pid="3" name="MSIP_Label_5fae8262-b78e-4366-8929-a5d6aac95320_SetDate">
    <vt:lpwstr>2020-06-29T06:00:16Z</vt:lpwstr>
  </property>
  <property fmtid="{D5CDD505-2E9C-101B-9397-08002B2CF9AE}" pid="4" name="MSIP_Label_5fae8262-b78e-4366-8929-a5d6aac95320_Method">
    <vt:lpwstr>Standard</vt:lpwstr>
  </property>
  <property fmtid="{D5CDD505-2E9C-101B-9397-08002B2CF9AE}" pid="5" name="MSIP_Label_5fae8262-b78e-4366-8929-a5d6aac95320_Name">
    <vt:lpwstr>5fae8262-b78e-4366-8929-a5d6aac95320</vt:lpwstr>
  </property>
  <property fmtid="{D5CDD505-2E9C-101B-9397-08002B2CF9AE}" pid="6" name="MSIP_Label_5fae8262-b78e-4366-8929-a5d6aac95320_SiteId">
    <vt:lpwstr>cf36141c-ddd7-45a7-b073-111f66d0b30c</vt:lpwstr>
  </property>
  <property fmtid="{D5CDD505-2E9C-101B-9397-08002B2CF9AE}" pid="7" name="MSIP_Label_5fae8262-b78e-4366-8929-a5d6aac95320_ActionId">
    <vt:lpwstr>dab819fe-54ab-434a-9bdf-ea2b5825fcfb</vt:lpwstr>
  </property>
  <property fmtid="{D5CDD505-2E9C-101B-9397-08002B2CF9AE}" pid="8" name="MSIP_Label_5fae8262-b78e-4366-8929-a5d6aac95320_ContentBits">
    <vt:lpwstr>0</vt:lpwstr>
  </property>
  <property fmtid="{D5CDD505-2E9C-101B-9397-08002B2CF9AE}" pid="9" name="ContentTypeId">
    <vt:lpwstr>0x010100DE1E2B39043C7E40952DF1086CF29555</vt:lpwstr>
  </property>
</Properties>
</file>